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57" r:id="rId2"/>
  </p:sldIdLst>
  <p:sldSz cx="12192000" cy="6858000"/>
  <p:notesSz cx="6858000" cy="9144000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78" d="100"/>
          <a:sy n="78" d="100"/>
        </p:scale>
        <p:origin x="2910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Kopfzeilenplatzhalter 1">
            <a:extLst>
              <a:ext uri="{FF2B5EF4-FFF2-40B4-BE49-F238E27FC236}">
                <a16:creationId xmlns:a16="http://schemas.microsoft.com/office/drawing/2014/main" id="{4D407EA3-7A58-46E3-BE00-BC571918CAA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935000" y="431999"/>
            <a:ext cx="2988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/>
            </a:lvl1pPr>
          </a:lstStyle>
          <a:p>
            <a:pPr algn="ctr"/>
            <a:endParaRPr lang="de-DE" sz="800" dirty="0"/>
          </a:p>
        </p:txBody>
      </p:sp>
      <p:sp>
        <p:nvSpPr>
          <p:cNvPr id="7" name="Datumsplatzhalter 2">
            <a:extLst>
              <a:ext uri="{FF2B5EF4-FFF2-40B4-BE49-F238E27FC236}">
                <a16:creationId xmlns:a16="http://schemas.microsoft.com/office/drawing/2014/main" id="{E0BDAB28-C9AB-4B9B-9DC3-3B8FB8FAD65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89155" y="8568000"/>
            <a:ext cx="1080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/>
            </a:lvl1pPr>
          </a:lstStyle>
          <a:p>
            <a:pPr algn="l"/>
            <a:fld id="{5C0136BD-F462-4607-ABA7-62EC4104CF8F}" type="datetimeFigureOut">
              <a:rPr lang="de-DE" sz="800"/>
              <a:pPr algn="l"/>
              <a:t>29.09.2022</a:t>
            </a:fld>
            <a:endParaRPr lang="de-DE" sz="800" dirty="0"/>
          </a:p>
        </p:txBody>
      </p:sp>
      <p:sp>
        <p:nvSpPr>
          <p:cNvPr id="8" name="Fußzeilenplatzhalter 5">
            <a:extLst>
              <a:ext uri="{FF2B5EF4-FFF2-40B4-BE49-F238E27FC236}">
                <a16:creationId xmlns:a16="http://schemas.microsoft.com/office/drawing/2014/main" id="{19A86775-87E6-4725-AAC9-7FF2D22F9D6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935000" y="8568000"/>
            <a:ext cx="2988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/>
            </a:lvl1pPr>
          </a:lstStyle>
          <a:p>
            <a:endParaRPr lang="de-DE" sz="800" dirty="0"/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0CEEAA94-9608-40A4-A5AF-E99FD0A4323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828581" y="8568000"/>
            <a:ext cx="540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/>
            </a:lvl1pPr>
          </a:lstStyle>
          <a:p>
            <a:fld id="{95B01EAF-F0E5-4440-9A42-83F4BE432943}" type="slidenum">
              <a:rPr lang="de-DE" sz="800"/>
              <a:pPr/>
              <a:t>‹Nr.›</a:t>
            </a:fld>
            <a:endParaRPr lang="de-DE" sz="800"/>
          </a:p>
        </p:txBody>
      </p:sp>
    </p:spTree>
    <p:extLst>
      <p:ext uri="{BB962C8B-B14F-4D97-AF65-F5344CB8AC3E}">
        <p14:creationId xmlns:p14="http://schemas.microsoft.com/office/powerpoint/2010/main" val="33431029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935000" y="431999"/>
            <a:ext cx="2988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/>
            </a:lvl1pPr>
          </a:lstStyle>
          <a:p>
            <a:endParaRPr lang="de-DE" sz="8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685800" y="8568000"/>
            <a:ext cx="1080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/>
            </a:lvl1pPr>
          </a:lstStyle>
          <a:p>
            <a:fld id="{5C0136BD-F462-4607-ABA7-62EC4104CF8F}" type="datetimeFigureOut">
              <a:rPr lang="de-DE"/>
              <a:pPr/>
              <a:t>29.09.2022</a:t>
            </a:fld>
            <a:endParaRPr lang="de-DE" sz="800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935000" y="8568000"/>
            <a:ext cx="2988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/>
            </a:lvl1pPr>
          </a:lstStyle>
          <a:p>
            <a:endParaRPr lang="de-DE" sz="80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32200" y="8568000"/>
            <a:ext cx="540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/>
            </a:lvl1pPr>
          </a:lstStyle>
          <a:p>
            <a:fld id="{95B01EAF-F0E5-4440-9A42-83F4BE432943}" type="slidenum">
              <a:rPr lang="de-DE"/>
              <a:pPr/>
              <a:t>‹Nr.›</a:t>
            </a:fld>
            <a:endParaRPr lang="de-DE" sz="800"/>
          </a:p>
        </p:txBody>
      </p:sp>
    </p:spTree>
    <p:extLst>
      <p:ext uri="{BB962C8B-B14F-4D97-AF65-F5344CB8AC3E}">
        <p14:creationId xmlns:p14="http://schemas.microsoft.com/office/powerpoint/2010/main" val="42025341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10000"/>
      </a:lnSpc>
      <a:spcAft>
        <a:spcPts val="200"/>
      </a:spcAft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80000" algn="l" defTabSz="914400" rtl="0" eaLnBrk="1" latinLnBrk="0" hangingPunct="1">
      <a:lnSpc>
        <a:spcPct val="110000"/>
      </a:lnSpc>
      <a:spcAft>
        <a:spcPts val="200"/>
      </a:spcAft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algn="l" defTabSz="914400" rtl="0" eaLnBrk="1" latinLnBrk="0" hangingPunct="1">
      <a:lnSpc>
        <a:spcPct val="110000"/>
      </a:lnSpc>
      <a:spcAft>
        <a:spcPts val="200"/>
      </a:spcAft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40000" algn="l" defTabSz="914400" rtl="0" eaLnBrk="1" latinLnBrk="0" hangingPunct="1">
      <a:lnSpc>
        <a:spcPct val="110000"/>
      </a:lnSpc>
      <a:spcAft>
        <a:spcPts val="200"/>
      </a:spcAft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algn="l" defTabSz="914400" rtl="0" eaLnBrk="1" latinLnBrk="0" hangingPunct="1">
      <a:lnSpc>
        <a:spcPct val="110000"/>
      </a:lnSpc>
      <a:spcAft>
        <a:spcPts val="200"/>
      </a:spcAft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G Orange rechts">
            <a:extLst>
              <a:ext uri="{FF2B5EF4-FFF2-40B4-BE49-F238E27FC236}">
                <a16:creationId xmlns:a16="http://schemas.microsoft.com/office/drawing/2014/main" id="{2178F5BE-A66A-4A57-9ACC-51643F2A8AA0}"/>
              </a:ext>
            </a:extLst>
          </p:cNvPr>
          <p:cNvSpPr/>
          <p:nvPr userDrawn="1"/>
        </p:nvSpPr>
        <p:spPr>
          <a:xfrm>
            <a:off x="11728765" y="147089"/>
            <a:ext cx="210084" cy="5198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110000"/>
              </a:lnSpc>
              <a:spcAft>
                <a:spcPts val="200"/>
              </a:spcAft>
            </a:pPr>
            <a:endParaRPr lang="de-DE" sz="1400" dirty="0"/>
          </a:p>
        </p:txBody>
      </p:sp>
      <p:sp>
        <p:nvSpPr>
          <p:cNvPr id="11" name="HG Orange links">
            <a:extLst>
              <a:ext uri="{FF2B5EF4-FFF2-40B4-BE49-F238E27FC236}">
                <a16:creationId xmlns:a16="http://schemas.microsoft.com/office/drawing/2014/main" id="{DB5E03F9-B7A8-4013-A485-FAEB09627402}"/>
              </a:ext>
            </a:extLst>
          </p:cNvPr>
          <p:cNvSpPr/>
          <p:nvPr userDrawn="1"/>
        </p:nvSpPr>
        <p:spPr>
          <a:xfrm>
            <a:off x="10927533" y="147089"/>
            <a:ext cx="210084" cy="5198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110000"/>
              </a:lnSpc>
              <a:spcAft>
                <a:spcPts val="200"/>
              </a:spcAft>
            </a:pPr>
            <a:endParaRPr lang="de-DE" sz="1400" dirty="0"/>
          </a:p>
        </p:txBody>
      </p:sp>
      <p:sp>
        <p:nvSpPr>
          <p:cNvPr id="12" name="Bildplatzhalter">
            <a:extLst>
              <a:ext uri="{FF2B5EF4-FFF2-40B4-BE49-F238E27FC236}">
                <a16:creationId xmlns:a16="http://schemas.microsoft.com/office/drawing/2014/main" id="{807EF832-AF35-4D62-9000-E25D1C30F2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665610 w 12192000"/>
              <a:gd name="connsiteY0" fmla="*/ 772625 h 6858000"/>
              <a:gd name="connsiteX1" fmla="*/ 11665610 w 12192000"/>
              <a:gd name="connsiteY1" fmla="*/ 783465 h 6858000"/>
              <a:gd name="connsiteX2" fmla="*/ 11658822 w 12192000"/>
              <a:gd name="connsiteY2" fmla="*/ 788721 h 6858000"/>
              <a:gd name="connsiteX3" fmla="*/ 11650573 w 12192000"/>
              <a:gd name="connsiteY3" fmla="*/ 790436 h 6858000"/>
              <a:gd name="connsiteX4" fmla="*/ 11644259 w 12192000"/>
              <a:gd name="connsiteY4" fmla="*/ 788684 h 6858000"/>
              <a:gd name="connsiteX5" fmla="*/ 11641850 w 12192000"/>
              <a:gd name="connsiteY5" fmla="*/ 782845 h 6858000"/>
              <a:gd name="connsiteX6" fmla="*/ 11643054 w 12192000"/>
              <a:gd name="connsiteY6" fmla="*/ 779012 h 6858000"/>
              <a:gd name="connsiteX7" fmla="*/ 11646996 w 12192000"/>
              <a:gd name="connsiteY7" fmla="*/ 775946 h 6858000"/>
              <a:gd name="connsiteX8" fmla="*/ 11654332 w 12192000"/>
              <a:gd name="connsiteY8" fmla="*/ 773793 h 6858000"/>
              <a:gd name="connsiteX9" fmla="*/ 11665610 w 12192000"/>
              <a:gd name="connsiteY9" fmla="*/ 772625 h 6858000"/>
              <a:gd name="connsiteX10" fmla="*/ 11244271 w 12192000"/>
              <a:gd name="connsiteY10" fmla="*/ 769924 h 6858000"/>
              <a:gd name="connsiteX11" fmla="*/ 11244308 w 12192000"/>
              <a:gd name="connsiteY11" fmla="*/ 769924 h 6858000"/>
              <a:gd name="connsiteX12" fmla="*/ 11244308 w 12192000"/>
              <a:gd name="connsiteY12" fmla="*/ 786276 h 6858000"/>
              <a:gd name="connsiteX13" fmla="*/ 11239855 w 12192000"/>
              <a:gd name="connsiteY13" fmla="*/ 790473 h 6858000"/>
              <a:gd name="connsiteX14" fmla="*/ 11235001 w 12192000"/>
              <a:gd name="connsiteY14" fmla="*/ 793831 h 6858000"/>
              <a:gd name="connsiteX15" fmla="*/ 11229344 w 12192000"/>
              <a:gd name="connsiteY15" fmla="*/ 796021 h 6858000"/>
              <a:gd name="connsiteX16" fmla="*/ 11222664 w 12192000"/>
              <a:gd name="connsiteY16" fmla="*/ 796787 h 6858000"/>
              <a:gd name="connsiteX17" fmla="*/ 11217956 w 12192000"/>
              <a:gd name="connsiteY17" fmla="*/ 796094 h 6858000"/>
              <a:gd name="connsiteX18" fmla="*/ 11213978 w 12192000"/>
              <a:gd name="connsiteY18" fmla="*/ 793940 h 6858000"/>
              <a:gd name="connsiteX19" fmla="*/ 11211204 w 12192000"/>
              <a:gd name="connsiteY19" fmla="*/ 790181 h 6858000"/>
              <a:gd name="connsiteX20" fmla="*/ 11210182 w 12192000"/>
              <a:gd name="connsiteY20" fmla="*/ 784743 h 6858000"/>
              <a:gd name="connsiteX21" fmla="*/ 11212189 w 12192000"/>
              <a:gd name="connsiteY21" fmla="*/ 778830 h 6858000"/>
              <a:gd name="connsiteX22" fmla="*/ 11218357 w 12192000"/>
              <a:gd name="connsiteY22" fmla="*/ 774341 h 6858000"/>
              <a:gd name="connsiteX23" fmla="*/ 11228942 w 12192000"/>
              <a:gd name="connsiteY23" fmla="*/ 771348 h 6858000"/>
              <a:gd name="connsiteX24" fmla="*/ 11244271 w 12192000"/>
              <a:gd name="connsiteY24" fmla="*/ 769924 h 6858000"/>
              <a:gd name="connsiteX25" fmla="*/ 11032215 w 12192000"/>
              <a:gd name="connsiteY25" fmla="*/ 769924 h 6858000"/>
              <a:gd name="connsiteX26" fmla="*/ 11032251 w 12192000"/>
              <a:gd name="connsiteY26" fmla="*/ 769924 h 6858000"/>
              <a:gd name="connsiteX27" fmla="*/ 11032251 w 12192000"/>
              <a:gd name="connsiteY27" fmla="*/ 786276 h 6858000"/>
              <a:gd name="connsiteX28" fmla="*/ 11027799 w 12192000"/>
              <a:gd name="connsiteY28" fmla="*/ 790473 h 6858000"/>
              <a:gd name="connsiteX29" fmla="*/ 11022944 w 12192000"/>
              <a:gd name="connsiteY29" fmla="*/ 793831 h 6858000"/>
              <a:gd name="connsiteX30" fmla="*/ 11017287 w 12192000"/>
              <a:gd name="connsiteY30" fmla="*/ 796021 h 6858000"/>
              <a:gd name="connsiteX31" fmla="*/ 11010608 w 12192000"/>
              <a:gd name="connsiteY31" fmla="*/ 796787 h 6858000"/>
              <a:gd name="connsiteX32" fmla="*/ 11005899 w 12192000"/>
              <a:gd name="connsiteY32" fmla="*/ 796094 h 6858000"/>
              <a:gd name="connsiteX33" fmla="*/ 11001921 w 12192000"/>
              <a:gd name="connsiteY33" fmla="*/ 793940 h 6858000"/>
              <a:gd name="connsiteX34" fmla="*/ 10999147 w 12192000"/>
              <a:gd name="connsiteY34" fmla="*/ 790181 h 6858000"/>
              <a:gd name="connsiteX35" fmla="*/ 10998125 w 12192000"/>
              <a:gd name="connsiteY35" fmla="*/ 784743 h 6858000"/>
              <a:gd name="connsiteX36" fmla="*/ 11000133 w 12192000"/>
              <a:gd name="connsiteY36" fmla="*/ 778830 h 6858000"/>
              <a:gd name="connsiteX37" fmla="*/ 11006301 w 12192000"/>
              <a:gd name="connsiteY37" fmla="*/ 774341 h 6858000"/>
              <a:gd name="connsiteX38" fmla="*/ 11016886 w 12192000"/>
              <a:gd name="connsiteY38" fmla="*/ 771348 h 6858000"/>
              <a:gd name="connsiteX39" fmla="*/ 11032215 w 12192000"/>
              <a:gd name="connsiteY39" fmla="*/ 769924 h 6858000"/>
              <a:gd name="connsiteX40" fmla="*/ 11363804 w 12192000"/>
              <a:gd name="connsiteY40" fmla="*/ 741310 h 6858000"/>
              <a:gd name="connsiteX41" fmla="*/ 11373731 w 12192000"/>
              <a:gd name="connsiteY41" fmla="*/ 743500 h 6858000"/>
              <a:gd name="connsiteX42" fmla="*/ 11381652 w 12192000"/>
              <a:gd name="connsiteY42" fmla="*/ 751091 h 6858000"/>
              <a:gd name="connsiteX43" fmla="*/ 11381688 w 12192000"/>
              <a:gd name="connsiteY43" fmla="*/ 751091 h 6858000"/>
              <a:gd name="connsiteX44" fmla="*/ 11381688 w 12192000"/>
              <a:gd name="connsiteY44" fmla="*/ 783904 h 6858000"/>
              <a:gd name="connsiteX45" fmla="*/ 11372710 w 12192000"/>
              <a:gd name="connsiteY45" fmla="*/ 792882 h 6858000"/>
              <a:gd name="connsiteX46" fmla="*/ 11361468 w 12192000"/>
              <a:gd name="connsiteY46" fmla="*/ 796094 h 6858000"/>
              <a:gd name="connsiteX47" fmla="*/ 11346686 w 12192000"/>
              <a:gd name="connsiteY47" fmla="*/ 789524 h 6858000"/>
              <a:gd name="connsiteX48" fmla="*/ 11341576 w 12192000"/>
              <a:gd name="connsiteY48" fmla="*/ 769049 h 6858000"/>
              <a:gd name="connsiteX49" fmla="*/ 11343000 w 12192000"/>
              <a:gd name="connsiteY49" fmla="*/ 757807 h 6858000"/>
              <a:gd name="connsiteX50" fmla="*/ 11347197 w 12192000"/>
              <a:gd name="connsiteY50" fmla="*/ 749011 h 6858000"/>
              <a:gd name="connsiteX51" fmla="*/ 11354132 w 12192000"/>
              <a:gd name="connsiteY51" fmla="*/ 743317 h 6858000"/>
              <a:gd name="connsiteX52" fmla="*/ 11363804 w 12192000"/>
              <a:gd name="connsiteY52" fmla="*/ 741310 h 6858000"/>
              <a:gd name="connsiteX53" fmla="*/ 11432604 w 12192000"/>
              <a:gd name="connsiteY53" fmla="*/ 741126 h 6858000"/>
              <a:gd name="connsiteX54" fmla="*/ 11440415 w 12192000"/>
              <a:gd name="connsiteY54" fmla="*/ 742586 h 6858000"/>
              <a:gd name="connsiteX55" fmla="*/ 11446546 w 12192000"/>
              <a:gd name="connsiteY55" fmla="*/ 746820 h 6858000"/>
              <a:gd name="connsiteX56" fmla="*/ 11450525 w 12192000"/>
              <a:gd name="connsiteY56" fmla="*/ 753572 h 6858000"/>
              <a:gd name="connsiteX57" fmla="*/ 11451948 w 12192000"/>
              <a:gd name="connsiteY57" fmla="*/ 762587 h 6858000"/>
              <a:gd name="connsiteX58" fmla="*/ 11410595 w 12192000"/>
              <a:gd name="connsiteY58" fmla="*/ 762587 h 6858000"/>
              <a:gd name="connsiteX59" fmla="*/ 11412858 w 12192000"/>
              <a:gd name="connsiteY59" fmla="*/ 753755 h 6858000"/>
              <a:gd name="connsiteX60" fmla="*/ 11417347 w 12192000"/>
              <a:gd name="connsiteY60" fmla="*/ 746966 h 6858000"/>
              <a:gd name="connsiteX61" fmla="*/ 11423954 w 12192000"/>
              <a:gd name="connsiteY61" fmla="*/ 742623 h 6858000"/>
              <a:gd name="connsiteX62" fmla="*/ 11432604 w 12192000"/>
              <a:gd name="connsiteY62" fmla="*/ 741126 h 6858000"/>
              <a:gd name="connsiteX63" fmla="*/ 11110139 w 12192000"/>
              <a:gd name="connsiteY63" fmla="*/ 741126 h 6858000"/>
              <a:gd name="connsiteX64" fmla="*/ 11117950 w 12192000"/>
              <a:gd name="connsiteY64" fmla="*/ 742586 h 6858000"/>
              <a:gd name="connsiteX65" fmla="*/ 11124081 w 12192000"/>
              <a:gd name="connsiteY65" fmla="*/ 746820 h 6858000"/>
              <a:gd name="connsiteX66" fmla="*/ 11128060 w 12192000"/>
              <a:gd name="connsiteY66" fmla="*/ 753572 h 6858000"/>
              <a:gd name="connsiteX67" fmla="*/ 11129483 w 12192000"/>
              <a:gd name="connsiteY67" fmla="*/ 762587 h 6858000"/>
              <a:gd name="connsiteX68" fmla="*/ 11088130 w 12192000"/>
              <a:gd name="connsiteY68" fmla="*/ 762587 h 6858000"/>
              <a:gd name="connsiteX69" fmla="*/ 11090393 w 12192000"/>
              <a:gd name="connsiteY69" fmla="*/ 753755 h 6858000"/>
              <a:gd name="connsiteX70" fmla="*/ 11094882 w 12192000"/>
              <a:gd name="connsiteY70" fmla="*/ 746966 h 6858000"/>
              <a:gd name="connsiteX71" fmla="*/ 11101489 w 12192000"/>
              <a:gd name="connsiteY71" fmla="*/ 742623 h 6858000"/>
              <a:gd name="connsiteX72" fmla="*/ 11110139 w 12192000"/>
              <a:gd name="connsiteY72" fmla="*/ 741126 h 6858000"/>
              <a:gd name="connsiteX73" fmla="*/ 11143791 w 12192000"/>
              <a:gd name="connsiteY73" fmla="*/ 737659 h 6858000"/>
              <a:gd name="connsiteX74" fmla="*/ 11165617 w 12192000"/>
              <a:gd name="connsiteY74" fmla="*/ 768135 h 6858000"/>
              <a:gd name="connsiteX75" fmla="*/ 11142915 w 12192000"/>
              <a:gd name="connsiteY75" fmla="*/ 800072 h 6858000"/>
              <a:gd name="connsiteX76" fmla="*/ 11148317 w 12192000"/>
              <a:gd name="connsiteY76" fmla="*/ 800072 h 6858000"/>
              <a:gd name="connsiteX77" fmla="*/ 11149558 w 12192000"/>
              <a:gd name="connsiteY77" fmla="*/ 799561 h 6858000"/>
              <a:gd name="connsiteX78" fmla="*/ 11150470 w 12192000"/>
              <a:gd name="connsiteY78" fmla="*/ 798502 h 6858000"/>
              <a:gd name="connsiteX79" fmla="*/ 11168537 w 12192000"/>
              <a:gd name="connsiteY79" fmla="*/ 773026 h 6858000"/>
              <a:gd name="connsiteX80" fmla="*/ 11169486 w 12192000"/>
              <a:gd name="connsiteY80" fmla="*/ 770836 h 6858000"/>
              <a:gd name="connsiteX81" fmla="*/ 11188429 w 12192000"/>
              <a:gd name="connsiteY81" fmla="*/ 798502 h 6858000"/>
              <a:gd name="connsiteX82" fmla="*/ 11189232 w 12192000"/>
              <a:gd name="connsiteY82" fmla="*/ 799524 h 6858000"/>
              <a:gd name="connsiteX83" fmla="*/ 11190619 w 12192000"/>
              <a:gd name="connsiteY83" fmla="*/ 800072 h 6858000"/>
              <a:gd name="connsiteX84" fmla="*/ 11196312 w 12192000"/>
              <a:gd name="connsiteY84" fmla="*/ 800072 h 6858000"/>
              <a:gd name="connsiteX85" fmla="*/ 11173647 w 12192000"/>
              <a:gd name="connsiteY85" fmla="*/ 767770 h 6858000"/>
              <a:gd name="connsiteX86" fmla="*/ 11195400 w 12192000"/>
              <a:gd name="connsiteY86" fmla="*/ 737659 h 6858000"/>
              <a:gd name="connsiteX87" fmla="*/ 11189925 w 12192000"/>
              <a:gd name="connsiteY87" fmla="*/ 737659 h 6858000"/>
              <a:gd name="connsiteX88" fmla="*/ 11188794 w 12192000"/>
              <a:gd name="connsiteY88" fmla="*/ 738024 h 6858000"/>
              <a:gd name="connsiteX89" fmla="*/ 11187991 w 12192000"/>
              <a:gd name="connsiteY89" fmla="*/ 738973 h 6858000"/>
              <a:gd name="connsiteX90" fmla="*/ 11170873 w 12192000"/>
              <a:gd name="connsiteY90" fmla="*/ 763135 h 6858000"/>
              <a:gd name="connsiteX91" fmla="*/ 11170289 w 12192000"/>
              <a:gd name="connsiteY91" fmla="*/ 764266 h 6858000"/>
              <a:gd name="connsiteX92" fmla="*/ 11169887 w 12192000"/>
              <a:gd name="connsiteY92" fmla="*/ 765325 h 6858000"/>
              <a:gd name="connsiteX93" fmla="*/ 11151565 w 12192000"/>
              <a:gd name="connsiteY93" fmla="*/ 738900 h 6858000"/>
              <a:gd name="connsiteX94" fmla="*/ 11150799 w 12192000"/>
              <a:gd name="connsiteY94" fmla="*/ 738024 h 6858000"/>
              <a:gd name="connsiteX95" fmla="*/ 11149485 w 12192000"/>
              <a:gd name="connsiteY95" fmla="*/ 737659 h 6858000"/>
              <a:gd name="connsiteX96" fmla="*/ 11432494 w 12192000"/>
              <a:gd name="connsiteY96" fmla="*/ 736710 h 6858000"/>
              <a:gd name="connsiteX97" fmla="*/ 11420596 w 12192000"/>
              <a:gd name="connsiteY97" fmla="*/ 739046 h 6858000"/>
              <a:gd name="connsiteX98" fmla="*/ 11411763 w 12192000"/>
              <a:gd name="connsiteY98" fmla="*/ 745470 h 6858000"/>
              <a:gd name="connsiteX99" fmla="*/ 11406252 w 12192000"/>
              <a:gd name="connsiteY99" fmla="*/ 755251 h 6858000"/>
              <a:gd name="connsiteX100" fmla="*/ 11404354 w 12192000"/>
              <a:gd name="connsiteY100" fmla="*/ 767624 h 6858000"/>
              <a:gd name="connsiteX101" fmla="*/ 11406398 w 12192000"/>
              <a:gd name="connsiteY101" fmla="*/ 781786 h 6858000"/>
              <a:gd name="connsiteX102" fmla="*/ 11412201 w 12192000"/>
              <a:gd name="connsiteY102" fmla="*/ 792224 h 6858000"/>
              <a:gd name="connsiteX103" fmla="*/ 11421216 w 12192000"/>
              <a:gd name="connsiteY103" fmla="*/ 798721 h 6858000"/>
              <a:gd name="connsiteX104" fmla="*/ 11432896 w 12192000"/>
              <a:gd name="connsiteY104" fmla="*/ 800947 h 6858000"/>
              <a:gd name="connsiteX105" fmla="*/ 11439904 w 12192000"/>
              <a:gd name="connsiteY105" fmla="*/ 800254 h 6858000"/>
              <a:gd name="connsiteX106" fmla="*/ 11446437 w 12192000"/>
              <a:gd name="connsiteY106" fmla="*/ 798393 h 6858000"/>
              <a:gd name="connsiteX107" fmla="*/ 11451948 w 12192000"/>
              <a:gd name="connsiteY107" fmla="*/ 795619 h 6858000"/>
              <a:gd name="connsiteX108" fmla="*/ 11455926 w 12192000"/>
              <a:gd name="connsiteY108" fmla="*/ 792115 h 6858000"/>
              <a:gd name="connsiteX109" fmla="*/ 11454284 w 12192000"/>
              <a:gd name="connsiteY109" fmla="*/ 790107 h 6858000"/>
              <a:gd name="connsiteX110" fmla="*/ 11453043 w 12192000"/>
              <a:gd name="connsiteY110" fmla="*/ 789487 h 6858000"/>
              <a:gd name="connsiteX111" fmla="*/ 11451036 w 12192000"/>
              <a:gd name="connsiteY111" fmla="*/ 790509 h 6858000"/>
              <a:gd name="connsiteX112" fmla="*/ 11447313 w 12192000"/>
              <a:gd name="connsiteY112" fmla="*/ 792845 h 6858000"/>
              <a:gd name="connsiteX113" fmla="*/ 11441510 w 12192000"/>
              <a:gd name="connsiteY113" fmla="*/ 795181 h 6858000"/>
              <a:gd name="connsiteX114" fmla="*/ 11433370 w 12192000"/>
              <a:gd name="connsiteY114" fmla="*/ 796203 h 6858000"/>
              <a:gd name="connsiteX115" fmla="*/ 11423844 w 12192000"/>
              <a:gd name="connsiteY115" fmla="*/ 794378 h 6858000"/>
              <a:gd name="connsiteX116" fmla="*/ 11416581 w 12192000"/>
              <a:gd name="connsiteY116" fmla="*/ 788939 h 6858000"/>
              <a:gd name="connsiteX117" fmla="*/ 11411946 w 12192000"/>
              <a:gd name="connsiteY117" fmla="*/ 779997 h 6858000"/>
              <a:gd name="connsiteX118" fmla="*/ 11410303 w 12192000"/>
              <a:gd name="connsiteY118" fmla="*/ 767624 h 6858000"/>
              <a:gd name="connsiteX119" fmla="*/ 11410303 w 12192000"/>
              <a:gd name="connsiteY119" fmla="*/ 766493 h 6858000"/>
              <a:gd name="connsiteX120" fmla="*/ 11455671 w 12192000"/>
              <a:gd name="connsiteY120" fmla="*/ 766493 h 6858000"/>
              <a:gd name="connsiteX121" fmla="*/ 11456912 w 12192000"/>
              <a:gd name="connsiteY121" fmla="*/ 765982 h 6858000"/>
              <a:gd name="connsiteX122" fmla="*/ 11457277 w 12192000"/>
              <a:gd name="connsiteY122" fmla="*/ 764084 h 6858000"/>
              <a:gd name="connsiteX123" fmla="*/ 11455379 w 12192000"/>
              <a:gd name="connsiteY123" fmla="*/ 752404 h 6858000"/>
              <a:gd name="connsiteX124" fmla="*/ 11450123 w 12192000"/>
              <a:gd name="connsiteY124" fmla="*/ 743827 h 6858000"/>
              <a:gd name="connsiteX125" fmla="*/ 11442276 w 12192000"/>
              <a:gd name="connsiteY125" fmla="*/ 738535 h 6858000"/>
              <a:gd name="connsiteX126" fmla="*/ 11432494 w 12192000"/>
              <a:gd name="connsiteY126" fmla="*/ 736710 h 6858000"/>
              <a:gd name="connsiteX127" fmla="*/ 11110029 w 12192000"/>
              <a:gd name="connsiteY127" fmla="*/ 736710 h 6858000"/>
              <a:gd name="connsiteX128" fmla="*/ 11098131 w 12192000"/>
              <a:gd name="connsiteY128" fmla="*/ 739046 h 6858000"/>
              <a:gd name="connsiteX129" fmla="*/ 11089298 w 12192000"/>
              <a:gd name="connsiteY129" fmla="*/ 745470 h 6858000"/>
              <a:gd name="connsiteX130" fmla="*/ 11083787 w 12192000"/>
              <a:gd name="connsiteY130" fmla="*/ 755251 h 6858000"/>
              <a:gd name="connsiteX131" fmla="*/ 11081889 w 12192000"/>
              <a:gd name="connsiteY131" fmla="*/ 767624 h 6858000"/>
              <a:gd name="connsiteX132" fmla="*/ 11083933 w 12192000"/>
              <a:gd name="connsiteY132" fmla="*/ 781786 h 6858000"/>
              <a:gd name="connsiteX133" fmla="*/ 11089736 w 12192000"/>
              <a:gd name="connsiteY133" fmla="*/ 792224 h 6858000"/>
              <a:gd name="connsiteX134" fmla="*/ 11098751 w 12192000"/>
              <a:gd name="connsiteY134" fmla="*/ 798721 h 6858000"/>
              <a:gd name="connsiteX135" fmla="*/ 11110431 w 12192000"/>
              <a:gd name="connsiteY135" fmla="*/ 800947 h 6858000"/>
              <a:gd name="connsiteX136" fmla="*/ 11117439 w 12192000"/>
              <a:gd name="connsiteY136" fmla="*/ 800254 h 6858000"/>
              <a:gd name="connsiteX137" fmla="*/ 11123972 w 12192000"/>
              <a:gd name="connsiteY137" fmla="*/ 798393 h 6858000"/>
              <a:gd name="connsiteX138" fmla="*/ 11129483 w 12192000"/>
              <a:gd name="connsiteY138" fmla="*/ 795619 h 6858000"/>
              <a:gd name="connsiteX139" fmla="*/ 11133461 w 12192000"/>
              <a:gd name="connsiteY139" fmla="*/ 792115 h 6858000"/>
              <a:gd name="connsiteX140" fmla="*/ 11131819 w 12192000"/>
              <a:gd name="connsiteY140" fmla="*/ 790107 h 6858000"/>
              <a:gd name="connsiteX141" fmla="*/ 11130578 w 12192000"/>
              <a:gd name="connsiteY141" fmla="*/ 789487 h 6858000"/>
              <a:gd name="connsiteX142" fmla="*/ 11128571 w 12192000"/>
              <a:gd name="connsiteY142" fmla="*/ 790509 h 6858000"/>
              <a:gd name="connsiteX143" fmla="*/ 11124848 w 12192000"/>
              <a:gd name="connsiteY143" fmla="*/ 792845 h 6858000"/>
              <a:gd name="connsiteX144" fmla="*/ 11119045 w 12192000"/>
              <a:gd name="connsiteY144" fmla="*/ 795181 h 6858000"/>
              <a:gd name="connsiteX145" fmla="*/ 11110905 w 12192000"/>
              <a:gd name="connsiteY145" fmla="*/ 796203 h 6858000"/>
              <a:gd name="connsiteX146" fmla="*/ 11101379 w 12192000"/>
              <a:gd name="connsiteY146" fmla="*/ 794378 h 6858000"/>
              <a:gd name="connsiteX147" fmla="*/ 11094116 w 12192000"/>
              <a:gd name="connsiteY147" fmla="*/ 788939 h 6858000"/>
              <a:gd name="connsiteX148" fmla="*/ 11089481 w 12192000"/>
              <a:gd name="connsiteY148" fmla="*/ 779997 h 6858000"/>
              <a:gd name="connsiteX149" fmla="*/ 11087838 w 12192000"/>
              <a:gd name="connsiteY149" fmla="*/ 767624 h 6858000"/>
              <a:gd name="connsiteX150" fmla="*/ 11087838 w 12192000"/>
              <a:gd name="connsiteY150" fmla="*/ 766493 h 6858000"/>
              <a:gd name="connsiteX151" fmla="*/ 11133206 w 12192000"/>
              <a:gd name="connsiteY151" fmla="*/ 766493 h 6858000"/>
              <a:gd name="connsiteX152" fmla="*/ 11134447 w 12192000"/>
              <a:gd name="connsiteY152" fmla="*/ 765982 h 6858000"/>
              <a:gd name="connsiteX153" fmla="*/ 11134812 w 12192000"/>
              <a:gd name="connsiteY153" fmla="*/ 764084 h 6858000"/>
              <a:gd name="connsiteX154" fmla="*/ 11132914 w 12192000"/>
              <a:gd name="connsiteY154" fmla="*/ 752404 h 6858000"/>
              <a:gd name="connsiteX155" fmla="*/ 11127658 w 12192000"/>
              <a:gd name="connsiteY155" fmla="*/ 743827 h 6858000"/>
              <a:gd name="connsiteX156" fmla="*/ 11119811 w 12192000"/>
              <a:gd name="connsiteY156" fmla="*/ 738535 h 6858000"/>
              <a:gd name="connsiteX157" fmla="*/ 11110029 w 12192000"/>
              <a:gd name="connsiteY157" fmla="*/ 736710 h 6858000"/>
              <a:gd name="connsiteX158" fmla="*/ 11298399 w 12192000"/>
              <a:gd name="connsiteY158" fmla="*/ 736674 h 6858000"/>
              <a:gd name="connsiteX159" fmla="*/ 11285770 w 12192000"/>
              <a:gd name="connsiteY159" fmla="*/ 739922 h 6858000"/>
              <a:gd name="connsiteX160" fmla="*/ 11275770 w 12192000"/>
              <a:gd name="connsiteY160" fmla="*/ 748573 h 6858000"/>
              <a:gd name="connsiteX161" fmla="*/ 11275222 w 12192000"/>
              <a:gd name="connsiteY161" fmla="*/ 739265 h 6858000"/>
              <a:gd name="connsiteX162" fmla="*/ 11273397 w 12192000"/>
              <a:gd name="connsiteY162" fmla="*/ 737696 h 6858000"/>
              <a:gd name="connsiteX163" fmla="*/ 11270076 w 12192000"/>
              <a:gd name="connsiteY163" fmla="*/ 737696 h 6858000"/>
              <a:gd name="connsiteX164" fmla="*/ 11270076 w 12192000"/>
              <a:gd name="connsiteY164" fmla="*/ 800109 h 6858000"/>
              <a:gd name="connsiteX165" fmla="*/ 11276062 w 12192000"/>
              <a:gd name="connsiteY165" fmla="*/ 800109 h 6858000"/>
              <a:gd name="connsiteX166" fmla="*/ 11276062 w 12192000"/>
              <a:gd name="connsiteY166" fmla="*/ 753171 h 6858000"/>
              <a:gd name="connsiteX167" fmla="*/ 11285515 w 12192000"/>
              <a:gd name="connsiteY167" fmla="*/ 744558 h 6858000"/>
              <a:gd name="connsiteX168" fmla="*/ 11296902 w 12192000"/>
              <a:gd name="connsiteY168" fmla="*/ 741455 h 6858000"/>
              <a:gd name="connsiteX169" fmla="*/ 11309129 w 12192000"/>
              <a:gd name="connsiteY169" fmla="*/ 746456 h 6858000"/>
              <a:gd name="connsiteX170" fmla="*/ 11313144 w 12192000"/>
              <a:gd name="connsiteY170" fmla="*/ 760216 h 6858000"/>
              <a:gd name="connsiteX171" fmla="*/ 11313144 w 12192000"/>
              <a:gd name="connsiteY171" fmla="*/ 800109 h 6858000"/>
              <a:gd name="connsiteX172" fmla="*/ 11319167 w 12192000"/>
              <a:gd name="connsiteY172" fmla="*/ 800109 h 6858000"/>
              <a:gd name="connsiteX173" fmla="*/ 11319167 w 12192000"/>
              <a:gd name="connsiteY173" fmla="*/ 760216 h 6858000"/>
              <a:gd name="connsiteX174" fmla="*/ 11317853 w 12192000"/>
              <a:gd name="connsiteY174" fmla="*/ 750434 h 6858000"/>
              <a:gd name="connsiteX175" fmla="*/ 11313947 w 12192000"/>
              <a:gd name="connsiteY175" fmla="*/ 743025 h 6858000"/>
              <a:gd name="connsiteX176" fmla="*/ 11307451 w 12192000"/>
              <a:gd name="connsiteY176" fmla="*/ 738316 h 6858000"/>
              <a:gd name="connsiteX177" fmla="*/ 11298399 w 12192000"/>
              <a:gd name="connsiteY177" fmla="*/ 736674 h 6858000"/>
              <a:gd name="connsiteX178" fmla="*/ 11498886 w 12192000"/>
              <a:gd name="connsiteY178" fmla="*/ 736637 h 6858000"/>
              <a:gd name="connsiteX179" fmla="*/ 11492279 w 12192000"/>
              <a:gd name="connsiteY179" fmla="*/ 737732 h 6858000"/>
              <a:gd name="connsiteX180" fmla="*/ 11486877 w 12192000"/>
              <a:gd name="connsiteY180" fmla="*/ 740907 h 6858000"/>
              <a:gd name="connsiteX181" fmla="*/ 11482607 w 12192000"/>
              <a:gd name="connsiteY181" fmla="*/ 745944 h 6858000"/>
              <a:gd name="connsiteX182" fmla="*/ 11479322 w 12192000"/>
              <a:gd name="connsiteY182" fmla="*/ 752733 h 6858000"/>
              <a:gd name="connsiteX183" fmla="*/ 11478848 w 12192000"/>
              <a:gd name="connsiteY183" fmla="*/ 739666 h 6858000"/>
              <a:gd name="connsiteX184" fmla="*/ 11478300 w 12192000"/>
              <a:gd name="connsiteY184" fmla="*/ 738170 h 6858000"/>
              <a:gd name="connsiteX185" fmla="*/ 11476804 w 12192000"/>
              <a:gd name="connsiteY185" fmla="*/ 737732 h 6858000"/>
              <a:gd name="connsiteX186" fmla="*/ 11473592 w 12192000"/>
              <a:gd name="connsiteY186" fmla="*/ 737732 h 6858000"/>
              <a:gd name="connsiteX187" fmla="*/ 11473592 w 12192000"/>
              <a:gd name="connsiteY187" fmla="*/ 800145 h 6858000"/>
              <a:gd name="connsiteX188" fmla="*/ 11479614 w 12192000"/>
              <a:gd name="connsiteY188" fmla="*/ 800145 h 6858000"/>
              <a:gd name="connsiteX189" fmla="*/ 11479614 w 12192000"/>
              <a:gd name="connsiteY189" fmla="*/ 759741 h 6858000"/>
              <a:gd name="connsiteX190" fmla="*/ 11482644 w 12192000"/>
              <a:gd name="connsiteY190" fmla="*/ 752295 h 6858000"/>
              <a:gd name="connsiteX191" fmla="*/ 11486549 w 12192000"/>
              <a:gd name="connsiteY191" fmla="*/ 746857 h 6858000"/>
              <a:gd name="connsiteX192" fmla="*/ 11491549 w 12192000"/>
              <a:gd name="connsiteY192" fmla="*/ 743572 h 6858000"/>
              <a:gd name="connsiteX193" fmla="*/ 11497973 w 12192000"/>
              <a:gd name="connsiteY193" fmla="*/ 742477 h 6858000"/>
              <a:gd name="connsiteX194" fmla="*/ 11502024 w 12192000"/>
              <a:gd name="connsiteY194" fmla="*/ 742915 h 6858000"/>
              <a:gd name="connsiteX195" fmla="*/ 11504324 w 12192000"/>
              <a:gd name="connsiteY195" fmla="*/ 743353 h 6858000"/>
              <a:gd name="connsiteX196" fmla="*/ 11505528 w 12192000"/>
              <a:gd name="connsiteY196" fmla="*/ 742331 h 6858000"/>
              <a:gd name="connsiteX197" fmla="*/ 11506039 w 12192000"/>
              <a:gd name="connsiteY197" fmla="*/ 738206 h 6858000"/>
              <a:gd name="connsiteX198" fmla="*/ 11502718 w 12192000"/>
              <a:gd name="connsiteY198" fmla="*/ 736965 h 6858000"/>
              <a:gd name="connsiteX199" fmla="*/ 11498886 w 12192000"/>
              <a:gd name="connsiteY199" fmla="*/ 736637 h 6858000"/>
              <a:gd name="connsiteX200" fmla="*/ 11230110 w 12192000"/>
              <a:gd name="connsiteY200" fmla="*/ 736601 h 6858000"/>
              <a:gd name="connsiteX201" fmla="*/ 11217883 w 12192000"/>
              <a:gd name="connsiteY201" fmla="*/ 739119 h 6858000"/>
              <a:gd name="connsiteX202" fmla="*/ 11207590 w 12192000"/>
              <a:gd name="connsiteY202" fmla="*/ 746529 h 6858000"/>
              <a:gd name="connsiteX203" fmla="*/ 11208649 w 12192000"/>
              <a:gd name="connsiteY203" fmla="*/ 748354 h 6858000"/>
              <a:gd name="connsiteX204" fmla="*/ 11209415 w 12192000"/>
              <a:gd name="connsiteY204" fmla="*/ 749157 h 6858000"/>
              <a:gd name="connsiteX205" fmla="*/ 11210547 w 12192000"/>
              <a:gd name="connsiteY205" fmla="*/ 749485 h 6858000"/>
              <a:gd name="connsiteX206" fmla="*/ 11212883 w 12192000"/>
              <a:gd name="connsiteY206" fmla="*/ 748244 h 6858000"/>
              <a:gd name="connsiteX207" fmla="*/ 11216460 w 12192000"/>
              <a:gd name="connsiteY207" fmla="*/ 745470 h 6858000"/>
              <a:gd name="connsiteX208" fmla="*/ 11221825 w 12192000"/>
              <a:gd name="connsiteY208" fmla="*/ 742696 h 6858000"/>
              <a:gd name="connsiteX209" fmla="*/ 11229526 w 12192000"/>
              <a:gd name="connsiteY209" fmla="*/ 741455 h 6858000"/>
              <a:gd name="connsiteX210" fmla="*/ 11240585 w 12192000"/>
              <a:gd name="connsiteY210" fmla="*/ 746127 h 6858000"/>
              <a:gd name="connsiteX211" fmla="*/ 11244308 w 12192000"/>
              <a:gd name="connsiteY211" fmla="*/ 759449 h 6858000"/>
              <a:gd name="connsiteX212" fmla="*/ 11244308 w 12192000"/>
              <a:gd name="connsiteY212" fmla="*/ 765982 h 6858000"/>
              <a:gd name="connsiteX213" fmla="*/ 11226132 w 12192000"/>
              <a:gd name="connsiteY213" fmla="*/ 767734 h 6858000"/>
              <a:gd name="connsiteX214" fmla="*/ 11213759 w 12192000"/>
              <a:gd name="connsiteY214" fmla="*/ 771749 h 6858000"/>
              <a:gd name="connsiteX215" fmla="*/ 11206678 w 12192000"/>
              <a:gd name="connsiteY215" fmla="*/ 777662 h 6858000"/>
              <a:gd name="connsiteX216" fmla="*/ 11204415 w 12192000"/>
              <a:gd name="connsiteY216" fmla="*/ 784998 h 6858000"/>
              <a:gd name="connsiteX217" fmla="*/ 11205838 w 12192000"/>
              <a:gd name="connsiteY217" fmla="*/ 792298 h 6858000"/>
              <a:gd name="connsiteX218" fmla="*/ 11209598 w 12192000"/>
              <a:gd name="connsiteY218" fmla="*/ 797298 h 6858000"/>
              <a:gd name="connsiteX219" fmla="*/ 11214963 w 12192000"/>
              <a:gd name="connsiteY219" fmla="*/ 800181 h 6858000"/>
              <a:gd name="connsiteX220" fmla="*/ 11221168 w 12192000"/>
              <a:gd name="connsiteY220" fmla="*/ 801130 h 6858000"/>
              <a:gd name="connsiteX221" fmla="*/ 11228176 w 12192000"/>
              <a:gd name="connsiteY221" fmla="*/ 800364 h 6858000"/>
              <a:gd name="connsiteX222" fmla="*/ 11234125 w 12192000"/>
              <a:gd name="connsiteY222" fmla="*/ 798247 h 6858000"/>
              <a:gd name="connsiteX223" fmla="*/ 11239417 w 12192000"/>
              <a:gd name="connsiteY223" fmla="*/ 794853 h 6858000"/>
              <a:gd name="connsiteX224" fmla="*/ 11244527 w 12192000"/>
              <a:gd name="connsiteY224" fmla="*/ 790327 h 6858000"/>
              <a:gd name="connsiteX225" fmla="*/ 11245403 w 12192000"/>
              <a:gd name="connsiteY225" fmla="*/ 798357 h 6858000"/>
              <a:gd name="connsiteX226" fmla="*/ 11247739 w 12192000"/>
              <a:gd name="connsiteY226" fmla="*/ 800109 h 6858000"/>
              <a:gd name="connsiteX227" fmla="*/ 11250111 w 12192000"/>
              <a:gd name="connsiteY227" fmla="*/ 800109 h 6858000"/>
              <a:gd name="connsiteX228" fmla="*/ 11250111 w 12192000"/>
              <a:gd name="connsiteY228" fmla="*/ 759449 h 6858000"/>
              <a:gd name="connsiteX229" fmla="*/ 11248870 w 12192000"/>
              <a:gd name="connsiteY229" fmla="*/ 749996 h 6858000"/>
              <a:gd name="connsiteX230" fmla="*/ 11245147 w 12192000"/>
              <a:gd name="connsiteY230" fmla="*/ 742769 h 6858000"/>
              <a:gd name="connsiteX231" fmla="*/ 11238906 w 12192000"/>
              <a:gd name="connsiteY231" fmla="*/ 738207 h 6858000"/>
              <a:gd name="connsiteX232" fmla="*/ 11230110 w 12192000"/>
              <a:gd name="connsiteY232" fmla="*/ 736601 h 6858000"/>
              <a:gd name="connsiteX233" fmla="*/ 11018017 w 12192000"/>
              <a:gd name="connsiteY233" fmla="*/ 736601 h 6858000"/>
              <a:gd name="connsiteX234" fmla="*/ 11005790 w 12192000"/>
              <a:gd name="connsiteY234" fmla="*/ 739119 h 6858000"/>
              <a:gd name="connsiteX235" fmla="*/ 10995497 w 12192000"/>
              <a:gd name="connsiteY235" fmla="*/ 746529 h 6858000"/>
              <a:gd name="connsiteX236" fmla="*/ 10996556 w 12192000"/>
              <a:gd name="connsiteY236" fmla="*/ 748354 h 6858000"/>
              <a:gd name="connsiteX237" fmla="*/ 10997322 w 12192000"/>
              <a:gd name="connsiteY237" fmla="*/ 749157 h 6858000"/>
              <a:gd name="connsiteX238" fmla="*/ 10998454 w 12192000"/>
              <a:gd name="connsiteY238" fmla="*/ 749485 h 6858000"/>
              <a:gd name="connsiteX239" fmla="*/ 11000790 w 12192000"/>
              <a:gd name="connsiteY239" fmla="*/ 748244 h 6858000"/>
              <a:gd name="connsiteX240" fmla="*/ 11004367 w 12192000"/>
              <a:gd name="connsiteY240" fmla="*/ 745470 h 6858000"/>
              <a:gd name="connsiteX241" fmla="*/ 11009732 w 12192000"/>
              <a:gd name="connsiteY241" fmla="*/ 742696 h 6858000"/>
              <a:gd name="connsiteX242" fmla="*/ 11017433 w 12192000"/>
              <a:gd name="connsiteY242" fmla="*/ 741455 h 6858000"/>
              <a:gd name="connsiteX243" fmla="*/ 11028492 w 12192000"/>
              <a:gd name="connsiteY243" fmla="*/ 746127 h 6858000"/>
              <a:gd name="connsiteX244" fmla="*/ 11032215 w 12192000"/>
              <a:gd name="connsiteY244" fmla="*/ 759449 h 6858000"/>
              <a:gd name="connsiteX245" fmla="*/ 11032215 w 12192000"/>
              <a:gd name="connsiteY245" fmla="*/ 765982 h 6858000"/>
              <a:gd name="connsiteX246" fmla="*/ 11014039 w 12192000"/>
              <a:gd name="connsiteY246" fmla="*/ 767734 h 6858000"/>
              <a:gd name="connsiteX247" fmla="*/ 11001666 w 12192000"/>
              <a:gd name="connsiteY247" fmla="*/ 771749 h 6858000"/>
              <a:gd name="connsiteX248" fmla="*/ 10994585 w 12192000"/>
              <a:gd name="connsiteY248" fmla="*/ 777662 h 6858000"/>
              <a:gd name="connsiteX249" fmla="*/ 10992322 w 12192000"/>
              <a:gd name="connsiteY249" fmla="*/ 784998 h 6858000"/>
              <a:gd name="connsiteX250" fmla="*/ 10993745 w 12192000"/>
              <a:gd name="connsiteY250" fmla="*/ 792298 h 6858000"/>
              <a:gd name="connsiteX251" fmla="*/ 10997505 w 12192000"/>
              <a:gd name="connsiteY251" fmla="*/ 797298 h 6858000"/>
              <a:gd name="connsiteX252" fmla="*/ 11002870 w 12192000"/>
              <a:gd name="connsiteY252" fmla="*/ 800181 h 6858000"/>
              <a:gd name="connsiteX253" fmla="*/ 11009075 w 12192000"/>
              <a:gd name="connsiteY253" fmla="*/ 801130 h 6858000"/>
              <a:gd name="connsiteX254" fmla="*/ 11016083 w 12192000"/>
              <a:gd name="connsiteY254" fmla="*/ 800364 h 6858000"/>
              <a:gd name="connsiteX255" fmla="*/ 11022032 w 12192000"/>
              <a:gd name="connsiteY255" fmla="*/ 798247 h 6858000"/>
              <a:gd name="connsiteX256" fmla="*/ 11027324 w 12192000"/>
              <a:gd name="connsiteY256" fmla="*/ 794853 h 6858000"/>
              <a:gd name="connsiteX257" fmla="*/ 11032434 w 12192000"/>
              <a:gd name="connsiteY257" fmla="*/ 790327 h 6858000"/>
              <a:gd name="connsiteX258" fmla="*/ 11033310 w 12192000"/>
              <a:gd name="connsiteY258" fmla="*/ 798357 h 6858000"/>
              <a:gd name="connsiteX259" fmla="*/ 11035646 w 12192000"/>
              <a:gd name="connsiteY259" fmla="*/ 800109 h 6858000"/>
              <a:gd name="connsiteX260" fmla="*/ 11038018 w 12192000"/>
              <a:gd name="connsiteY260" fmla="*/ 800109 h 6858000"/>
              <a:gd name="connsiteX261" fmla="*/ 11038018 w 12192000"/>
              <a:gd name="connsiteY261" fmla="*/ 759449 h 6858000"/>
              <a:gd name="connsiteX262" fmla="*/ 11036777 w 12192000"/>
              <a:gd name="connsiteY262" fmla="*/ 749996 h 6858000"/>
              <a:gd name="connsiteX263" fmla="*/ 11033054 w 12192000"/>
              <a:gd name="connsiteY263" fmla="*/ 742769 h 6858000"/>
              <a:gd name="connsiteX264" fmla="*/ 11026813 w 12192000"/>
              <a:gd name="connsiteY264" fmla="*/ 738207 h 6858000"/>
              <a:gd name="connsiteX265" fmla="*/ 11018017 w 12192000"/>
              <a:gd name="connsiteY265" fmla="*/ 736601 h 6858000"/>
              <a:gd name="connsiteX266" fmla="*/ 11832117 w 12192000"/>
              <a:gd name="connsiteY266" fmla="*/ 734703 h 6858000"/>
              <a:gd name="connsiteX267" fmla="*/ 11826824 w 12192000"/>
              <a:gd name="connsiteY267" fmla="*/ 735360 h 6858000"/>
              <a:gd name="connsiteX268" fmla="*/ 11822299 w 12192000"/>
              <a:gd name="connsiteY268" fmla="*/ 737148 h 6858000"/>
              <a:gd name="connsiteX269" fmla="*/ 11818357 w 12192000"/>
              <a:gd name="connsiteY269" fmla="*/ 739849 h 6858000"/>
              <a:gd name="connsiteX270" fmla="*/ 11814816 w 12192000"/>
              <a:gd name="connsiteY270" fmla="*/ 743317 h 6858000"/>
              <a:gd name="connsiteX271" fmla="*/ 11813794 w 12192000"/>
              <a:gd name="connsiteY271" fmla="*/ 738535 h 6858000"/>
              <a:gd name="connsiteX272" fmla="*/ 11809853 w 12192000"/>
              <a:gd name="connsiteY272" fmla="*/ 735725 h 6858000"/>
              <a:gd name="connsiteX273" fmla="*/ 11800363 w 12192000"/>
              <a:gd name="connsiteY273" fmla="*/ 735725 h 6858000"/>
              <a:gd name="connsiteX274" fmla="*/ 11800363 w 12192000"/>
              <a:gd name="connsiteY274" fmla="*/ 800072 h 6858000"/>
              <a:gd name="connsiteX275" fmla="*/ 11800363 w 12192000"/>
              <a:gd name="connsiteY275" fmla="*/ 800181 h 6858000"/>
              <a:gd name="connsiteX276" fmla="*/ 11815911 w 12192000"/>
              <a:gd name="connsiteY276" fmla="*/ 800181 h 6858000"/>
              <a:gd name="connsiteX277" fmla="*/ 11815911 w 12192000"/>
              <a:gd name="connsiteY277" fmla="*/ 753062 h 6858000"/>
              <a:gd name="connsiteX278" fmla="*/ 11821350 w 12192000"/>
              <a:gd name="connsiteY278" fmla="*/ 748499 h 6858000"/>
              <a:gd name="connsiteX279" fmla="*/ 11827664 w 12192000"/>
              <a:gd name="connsiteY279" fmla="*/ 746821 h 6858000"/>
              <a:gd name="connsiteX280" fmla="*/ 11835292 w 12192000"/>
              <a:gd name="connsiteY280" fmla="*/ 749777 h 6858000"/>
              <a:gd name="connsiteX281" fmla="*/ 11837884 w 12192000"/>
              <a:gd name="connsiteY281" fmla="*/ 759194 h 6858000"/>
              <a:gd name="connsiteX282" fmla="*/ 11837884 w 12192000"/>
              <a:gd name="connsiteY282" fmla="*/ 800145 h 6858000"/>
              <a:gd name="connsiteX283" fmla="*/ 11853432 w 12192000"/>
              <a:gd name="connsiteY283" fmla="*/ 800145 h 6858000"/>
              <a:gd name="connsiteX284" fmla="*/ 11853432 w 12192000"/>
              <a:gd name="connsiteY284" fmla="*/ 759194 h 6858000"/>
              <a:gd name="connsiteX285" fmla="*/ 11854308 w 12192000"/>
              <a:gd name="connsiteY285" fmla="*/ 753865 h 6858000"/>
              <a:gd name="connsiteX286" fmla="*/ 11856717 w 12192000"/>
              <a:gd name="connsiteY286" fmla="*/ 749996 h 6858000"/>
              <a:gd name="connsiteX287" fmla="*/ 11860294 w 12192000"/>
              <a:gd name="connsiteY287" fmla="*/ 747660 h 6858000"/>
              <a:gd name="connsiteX288" fmla="*/ 11864710 w 12192000"/>
              <a:gd name="connsiteY288" fmla="*/ 746857 h 6858000"/>
              <a:gd name="connsiteX289" fmla="*/ 11872630 w 12192000"/>
              <a:gd name="connsiteY289" fmla="*/ 749959 h 6858000"/>
              <a:gd name="connsiteX290" fmla="*/ 11875331 w 12192000"/>
              <a:gd name="connsiteY290" fmla="*/ 759194 h 6858000"/>
              <a:gd name="connsiteX291" fmla="*/ 11875331 w 12192000"/>
              <a:gd name="connsiteY291" fmla="*/ 800145 h 6858000"/>
              <a:gd name="connsiteX292" fmla="*/ 11890806 w 12192000"/>
              <a:gd name="connsiteY292" fmla="*/ 800145 h 6858000"/>
              <a:gd name="connsiteX293" fmla="*/ 11890806 w 12192000"/>
              <a:gd name="connsiteY293" fmla="*/ 759194 h 6858000"/>
              <a:gd name="connsiteX294" fmla="*/ 11889346 w 12192000"/>
              <a:gd name="connsiteY294" fmla="*/ 748828 h 6858000"/>
              <a:gd name="connsiteX295" fmla="*/ 11885040 w 12192000"/>
              <a:gd name="connsiteY295" fmla="*/ 741163 h 6858000"/>
              <a:gd name="connsiteX296" fmla="*/ 11878068 w 12192000"/>
              <a:gd name="connsiteY296" fmla="*/ 736382 h 6858000"/>
              <a:gd name="connsiteX297" fmla="*/ 11868579 w 12192000"/>
              <a:gd name="connsiteY297" fmla="*/ 734740 h 6858000"/>
              <a:gd name="connsiteX298" fmla="*/ 11862447 w 12192000"/>
              <a:gd name="connsiteY298" fmla="*/ 735433 h 6858000"/>
              <a:gd name="connsiteX299" fmla="*/ 11856717 w 12192000"/>
              <a:gd name="connsiteY299" fmla="*/ 737550 h 6858000"/>
              <a:gd name="connsiteX300" fmla="*/ 11851753 w 12192000"/>
              <a:gd name="connsiteY300" fmla="*/ 741273 h 6858000"/>
              <a:gd name="connsiteX301" fmla="*/ 11847994 w 12192000"/>
              <a:gd name="connsiteY301" fmla="*/ 746748 h 6858000"/>
              <a:gd name="connsiteX302" fmla="*/ 11842117 w 12192000"/>
              <a:gd name="connsiteY302" fmla="*/ 737988 h 6858000"/>
              <a:gd name="connsiteX303" fmla="*/ 11832117 w 12192000"/>
              <a:gd name="connsiteY303" fmla="*/ 734703 h 6858000"/>
              <a:gd name="connsiteX304" fmla="*/ 11727038 w 12192000"/>
              <a:gd name="connsiteY304" fmla="*/ 734703 h 6858000"/>
              <a:gd name="connsiteX305" fmla="*/ 11721745 w 12192000"/>
              <a:gd name="connsiteY305" fmla="*/ 735360 h 6858000"/>
              <a:gd name="connsiteX306" fmla="*/ 11717220 w 12192000"/>
              <a:gd name="connsiteY306" fmla="*/ 737148 h 6858000"/>
              <a:gd name="connsiteX307" fmla="*/ 11713278 w 12192000"/>
              <a:gd name="connsiteY307" fmla="*/ 739849 h 6858000"/>
              <a:gd name="connsiteX308" fmla="*/ 11709737 w 12192000"/>
              <a:gd name="connsiteY308" fmla="*/ 743317 h 6858000"/>
              <a:gd name="connsiteX309" fmla="*/ 11708715 w 12192000"/>
              <a:gd name="connsiteY309" fmla="*/ 738535 h 6858000"/>
              <a:gd name="connsiteX310" fmla="*/ 11704774 w 12192000"/>
              <a:gd name="connsiteY310" fmla="*/ 735725 h 6858000"/>
              <a:gd name="connsiteX311" fmla="*/ 11695284 w 12192000"/>
              <a:gd name="connsiteY311" fmla="*/ 735725 h 6858000"/>
              <a:gd name="connsiteX312" fmla="*/ 11695284 w 12192000"/>
              <a:gd name="connsiteY312" fmla="*/ 800072 h 6858000"/>
              <a:gd name="connsiteX313" fmla="*/ 11695284 w 12192000"/>
              <a:gd name="connsiteY313" fmla="*/ 800181 h 6858000"/>
              <a:gd name="connsiteX314" fmla="*/ 11710832 w 12192000"/>
              <a:gd name="connsiteY314" fmla="*/ 800181 h 6858000"/>
              <a:gd name="connsiteX315" fmla="*/ 11710832 w 12192000"/>
              <a:gd name="connsiteY315" fmla="*/ 753062 h 6858000"/>
              <a:gd name="connsiteX316" fmla="*/ 11716271 w 12192000"/>
              <a:gd name="connsiteY316" fmla="*/ 748499 h 6858000"/>
              <a:gd name="connsiteX317" fmla="*/ 11722585 w 12192000"/>
              <a:gd name="connsiteY317" fmla="*/ 746821 h 6858000"/>
              <a:gd name="connsiteX318" fmla="*/ 11730213 w 12192000"/>
              <a:gd name="connsiteY318" fmla="*/ 749777 h 6858000"/>
              <a:gd name="connsiteX319" fmla="*/ 11732805 w 12192000"/>
              <a:gd name="connsiteY319" fmla="*/ 759194 h 6858000"/>
              <a:gd name="connsiteX320" fmla="*/ 11732805 w 12192000"/>
              <a:gd name="connsiteY320" fmla="*/ 800145 h 6858000"/>
              <a:gd name="connsiteX321" fmla="*/ 11748353 w 12192000"/>
              <a:gd name="connsiteY321" fmla="*/ 800145 h 6858000"/>
              <a:gd name="connsiteX322" fmla="*/ 11748353 w 12192000"/>
              <a:gd name="connsiteY322" fmla="*/ 759194 h 6858000"/>
              <a:gd name="connsiteX323" fmla="*/ 11749229 w 12192000"/>
              <a:gd name="connsiteY323" fmla="*/ 753865 h 6858000"/>
              <a:gd name="connsiteX324" fmla="*/ 11751638 w 12192000"/>
              <a:gd name="connsiteY324" fmla="*/ 749996 h 6858000"/>
              <a:gd name="connsiteX325" fmla="*/ 11755215 w 12192000"/>
              <a:gd name="connsiteY325" fmla="*/ 747660 h 6858000"/>
              <a:gd name="connsiteX326" fmla="*/ 11759631 w 12192000"/>
              <a:gd name="connsiteY326" fmla="*/ 746857 h 6858000"/>
              <a:gd name="connsiteX327" fmla="*/ 11767551 w 12192000"/>
              <a:gd name="connsiteY327" fmla="*/ 749959 h 6858000"/>
              <a:gd name="connsiteX328" fmla="*/ 11770252 w 12192000"/>
              <a:gd name="connsiteY328" fmla="*/ 759194 h 6858000"/>
              <a:gd name="connsiteX329" fmla="*/ 11770252 w 12192000"/>
              <a:gd name="connsiteY329" fmla="*/ 800145 h 6858000"/>
              <a:gd name="connsiteX330" fmla="*/ 11785727 w 12192000"/>
              <a:gd name="connsiteY330" fmla="*/ 800145 h 6858000"/>
              <a:gd name="connsiteX331" fmla="*/ 11785727 w 12192000"/>
              <a:gd name="connsiteY331" fmla="*/ 759194 h 6858000"/>
              <a:gd name="connsiteX332" fmla="*/ 11784267 w 12192000"/>
              <a:gd name="connsiteY332" fmla="*/ 748828 h 6858000"/>
              <a:gd name="connsiteX333" fmla="*/ 11779961 w 12192000"/>
              <a:gd name="connsiteY333" fmla="*/ 741163 h 6858000"/>
              <a:gd name="connsiteX334" fmla="*/ 11772989 w 12192000"/>
              <a:gd name="connsiteY334" fmla="*/ 736382 h 6858000"/>
              <a:gd name="connsiteX335" fmla="*/ 11763500 w 12192000"/>
              <a:gd name="connsiteY335" fmla="*/ 734740 h 6858000"/>
              <a:gd name="connsiteX336" fmla="*/ 11757368 w 12192000"/>
              <a:gd name="connsiteY336" fmla="*/ 735433 h 6858000"/>
              <a:gd name="connsiteX337" fmla="*/ 11751638 w 12192000"/>
              <a:gd name="connsiteY337" fmla="*/ 737550 h 6858000"/>
              <a:gd name="connsiteX338" fmla="*/ 11746674 w 12192000"/>
              <a:gd name="connsiteY338" fmla="*/ 741273 h 6858000"/>
              <a:gd name="connsiteX339" fmla="*/ 11742915 w 12192000"/>
              <a:gd name="connsiteY339" fmla="*/ 746748 h 6858000"/>
              <a:gd name="connsiteX340" fmla="*/ 11737038 w 12192000"/>
              <a:gd name="connsiteY340" fmla="*/ 737988 h 6858000"/>
              <a:gd name="connsiteX341" fmla="*/ 11727038 w 12192000"/>
              <a:gd name="connsiteY341" fmla="*/ 734703 h 6858000"/>
              <a:gd name="connsiteX342" fmla="*/ 11656814 w 12192000"/>
              <a:gd name="connsiteY342" fmla="*/ 734557 h 6858000"/>
              <a:gd name="connsiteX343" fmla="*/ 11630097 w 12192000"/>
              <a:gd name="connsiteY343" fmla="*/ 744704 h 6858000"/>
              <a:gd name="connsiteX344" fmla="*/ 11632725 w 12192000"/>
              <a:gd name="connsiteY344" fmla="*/ 749740 h 6858000"/>
              <a:gd name="connsiteX345" fmla="*/ 11634550 w 12192000"/>
              <a:gd name="connsiteY345" fmla="*/ 751711 h 6858000"/>
              <a:gd name="connsiteX346" fmla="*/ 11637324 w 12192000"/>
              <a:gd name="connsiteY346" fmla="*/ 752551 h 6858000"/>
              <a:gd name="connsiteX347" fmla="*/ 11640755 w 12192000"/>
              <a:gd name="connsiteY347" fmla="*/ 751675 h 6858000"/>
              <a:gd name="connsiteX348" fmla="*/ 11644186 w 12192000"/>
              <a:gd name="connsiteY348" fmla="*/ 749704 h 6858000"/>
              <a:gd name="connsiteX349" fmla="*/ 11648529 w 12192000"/>
              <a:gd name="connsiteY349" fmla="*/ 747733 h 6858000"/>
              <a:gd name="connsiteX350" fmla="*/ 11654770 w 12192000"/>
              <a:gd name="connsiteY350" fmla="*/ 746857 h 6858000"/>
              <a:gd name="connsiteX351" fmla="*/ 11662727 w 12192000"/>
              <a:gd name="connsiteY351" fmla="*/ 749959 h 6858000"/>
              <a:gd name="connsiteX352" fmla="*/ 11665501 w 12192000"/>
              <a:gd name="connsiteY352" fmla="*/ 759522 h 6858000"/>
              <a:gd name="connsiteX353" fmla="*/ 11665501 w 12192000"/>
              <a:gd name="connsiteY353" fmla="*/ 763281 h 6858000"/>
              <a:gd name="connsiteX354" fmla="*/ 11652471 w 12192000"/>
              <a:gd name="connsiteY354" fmla="*/ 764376 h 6858000"/>
              <a:gd name="connsiteX355" fmla="*/ 11642470 w 12192000"/>
              <a:gd name="connsiteY355" fmla="*/ 766712 h 6858000"/>
              <a:gd name="connsiteX356" fmla="*/ 11635244 w 12192000"/>
              <a:gd name="connsiteY356" fmla="*/ 770107 h 6858000"/>
              <a:gd name="connsiteX357" fmla="*/ 11630462 w 12192000"/>
              <a:gd name="connsiteY357" fmla="*/ 774231 h 6858000"/>
              <a:gd name="connsiteX358" fmla="*/ 11627798 w 12192000"/>
              <a:gd name="connsiteY358" fmla="*/ 778830 h 6858000"/>
              <a:gd name="connsiteX359" fmla="*/ 11626995 w 12192000"/>
              <a:gd name="connsiteY359" fmla="*/ 783684 h 6858000"/>
              <a:gd name="connsiteX360" fmla="*/ 11628382 w 12192000"/>
              <a:gd name="connsiteY360" fmla="*/ 791276 h 6858000"/>
              <a:gd name="connsiteX361" fmla="*/ 11632287 w 12192000"/>
              <a:gd name="connsiteY361" fmla="*/ 796751 h 6858000"/>
              <a:gd name="connsiteX362" fmla="*/ 11638237 w 12192000"/>
              <a:gd name="connsiteY362" fmla="*/ 800035 h 6858000"/>
              <a:gd name="connsiteX363" fmla="*/ 11645755 w 12192000"/>
              <a:gd name="connsiteY363" fmla="*/ 801130 h 6858000"/>
              <a:gd name="connsiteX364" fmla="*/ 11652070 w 12192000"/>
              <a:gd name="connsiteY364" fmla="*/ 800546 h 6858000"/>
              <a:gd name="connsiteX365" fmla="*/ 11657435 w 12192000"/>
              <a:gd name="connsiteY365" fmla="*/ 798831 h 6858000"/>
              <a:gd name="connsiteX366" fmla="*/ 11662253 w 12192000"/>
              <a:gd name="connsiteY366" fmla="*/ 796057 h 6858000"/>
              <a:gd name="connsiteX367" fmla="*/ 11667034 w 12192000"/>
              <a:gd name="connsiteY367" fmla="*/ 792188 h 6858000"/>
              <a:gd name="connsiteX368" fmla="*/ 11668421 w 12192000"/>
              <a:gd name="connsiteY368" fmla="*/ 796824 h 6858000"/>
              <a:gd name="connsiteX369" fmla="*/ 11670319 w 12192000"/>
              <a:gd name="connsiteY369" fmla="*/ 799488 h 6858000"/>
              <a:gd name="connsiteX370" fmla="*/ 11673713 w 12192000"/>
              <a:gd name="connsiteY370" fmla="*/ 800145 h 6858000"/>
              <a:gd name="connsiteX371" fmla="*/ 11680721 w 12192000"/>
              <a:gd name="connsiteY371" fmla="*/ 800145 h 6858000"/>
              <a:gd name="connsiteX372" fmla="*/ 11680721 w 12192000"/>
              <a:gd name="connsiteY372" fmla="*/ 759485 h 6858000"/>
              <a:gd name="connsiteX373" fmla="*/ 11679115 w 12192000"/>
              <a:gd name="connsiteY373" fmla="*/ 749448 h 6858000"/>
              <a:gd name="connsiteX374" fmla="*/ 11674443 w 12192000"/>
              <a:gd name="connsiteY374" fmla="*/ 741565 h 6858000"/>
              <a:gd name="connsiteX375" fmla="*/ 11666924 w 12192000"/>
              <a:gd name="connsiteY375" fmla="*/ 736418 h 6858000"/>
              <a:gd name="connsiteX376" fmla="*/ 11656814 w 12192000"/>
              <a:gd name="connsiteY376" fmla="*/ 734557 h 6858000"/>
              <a:gd name="connsiteX377" fmla="*/ 11525784 w 12192000"/>
              <a:gd name="connsiteY377" fmla="*/ 716089 h 6858000"/>
              <a:gd name="connsiteX378" fmla="*/ 11523521 w 12192000"/>
              <a:gd name="connsiteY378" fmla="*/ 716782 h 6858000"/>
              <a:gd name="connsiteX379" fmla="*/ 11522317 w 12192000"/>
              <a:gd name="connsiteY379" fmla="*/ 718717 h 6858000"/>
              <a:gd name="connsiteX380" fmla="*/ 11519069 w 12192000"/>
              <a:gd name="connsiteY380" fmla="*/ 736273 h 6858000"/>
              <a:gd name="connsiteX381" fmla="*/ 11508703 w 12192000"/>
              <a:gd name="connsiteY381" fmla="*/ 737952 h 6858000"/>
              <a:gd name="connsiteX382" fmla="*/ 11508703 w 12192000"/>
              <a:gd name="connsiteY382" fmla="*/ 744083 h 6858000"/>
              <a:gd name="connsiteX383" fmla="*/ 11509579 w 12192000"/>
              <a:gd name="connsiteY383" fmla="*/ 746529 h 6858000"/>
              <a:gd name="connsiteX384" fmla="*/ 11511696 w 12192000"/>
              <a:gd name="connsiteY384" fmla="*/ 747332 h 6858000"/>
              <a:gd name="connsiteX385" fmla="*/ 11518266 w 12192000"/>
              <a:gd name="connsiteY385" fmla="*/ 747332 h 6858000"/>
              <a:gd name="connsiteX386" fmla="*/ 11518266 w 12192000"/>
              <a:gd name="connsiteY386" fmla="*/ 783283 h 6858000"/>
              <a:gd name="connsiteX387" fmla="*/ 11522755 w 12192000"/>
              <a:gd name="connsiteY387" fmla="*/ 796349 h 6858000"/>
              <a:gd name="connsiteX388" fmla="*/ 11535639 w 12192000"/>
              <a:gd name="connsiteY388" fmla="*/ 801094 h 6858000"/>
              <a:gd name="connsiteX389" fmla="*/ 11544764 w 12192000"/>
              <a:gd name="connsiteY389" fmla="*/ 799671 h 6858000"/>
              <a:gd name="connsiteX390" fmla="*/ 11552538 w 12192000"/>
              <a:gd name="connsiteY390" fmla="*/ 795400 h 6858000"/>
              <a:gd name="connsiteX391" fmla="*/ 11547902 w 12192000"/>
              <a:gd name="connsiteY391" fmla="*/ 787882 h 6858000"/>
              <a:gd name="connsiteX392" fmla="*/ 11546953 w 12192000"/>
              <a:gd name="connsiteY392" fmla="*/ 786860 h 6858000"/>
              <a:gd name="connsiteX393" fmla="*/ 11545822 w 12192000"/>
              <a:gd name="connsiteY393" fmla="*/ 786531 h 6858000"/>
              <a:gd name="connsiteX394" fmla="*/ 11544691 w 12192000"/>
              <a:gd name="connsiteY394" fmla="*/ 786860 h 6858000"/>
              <a:gd name="connsiteX395" fmla="*/ 11543413 w 12192000"/>
              <a:gd name="connsiteY395" fmla="*/ 787590 h 6858000"/>
              <a:gd name="connsiteX396" fmla="*/ 11541734 w 12192000"/>
              <a:gd name="connsiteY396" fmla="*/ 788320 h 6858000"/>
              <a:gd name="connsiteX397" fmla="*/ 11539325 w 12192000"/>
              <a:gd name="connsiteY397" fmla="*/ 788648 h 6858000"/>
              <a:gd name="connsiteX398" fmla="*/ 11535274 w 12192000"/>
              <a:gd name="connsiteY398" fmla="*/ 786969 h 6858000"/>
              <a:gd name="connsiteX399" fmla="*/ 11533814 w 12192000"/>
              <a:gd name="connsiteY399" fmla="*/ 782261 h 6858000"/>
              <a:gd name="connsiteX400" fmla="*/ 11533814 w 12192000"/>
              <a:gd name="connsiteY400" fmla="*/ 747368 h 6858000"/>
              <a:gd name="connsiteX401" fmla="*/ 11551005 w 12192000"/>
              <a:gd name="connsiteY401" fmla="*/ 747368 h 6858000"/>
              <a:gd name="connsiteX402" fmla="*/ 11551005 w 12192000"/>
              <a:gd name="connsiteY402" fmla="*/ 736346 h 6858000"/>
              <a:gd name="connsiteX403" fmla="*/ 11533814 w 12192000"/>
              <a:gd name="connsiteY403" fmla="*/ 736346 h 6858000"/>
              <a:gd name="connsiteX404" fmla="*/ 11533814 w 12192000"/>
              <a:gd name="connsiteY404" fmla="*/ 716089 h 6858000"/>
              <a:gd name="connsiteX405" fmla="*/ 11381688 w 12192000"/>
              <a:gd name="connsiteY405" fmla="*/ 708826 h 6858000"/>
              <a:gd name="connsiteX406" fmla="*/ 11381688 w 12192000"/>
              <a:gd name="connsiteY406" fmla="*/ 745836 h 6858000"/>
              <a:gd name="connsiteX407" fmla="*/ 11373585 w 12192000"/>
              <a:gd name="connsiteY407" fmla="*/ 738937 h 6858000"/>
              <a:gd name="connsiteX408" fmla="*/ 11362599 w 12192000"/>
              <a:gd name="connsiteY408" fmla="*/ 736601 h 6858000"/>
              <a:gd name="connsiteX409" fmla="*/ 11350956 w 12192000"/>
              <a:gd name="connsiteY409" fmla="*/ 739120 h 6858000"/>
              <a:gd name="connsiteX410" fmla="*/ 11342452 w 12192000"/>
              <a:gd name="connsiteY410" fmla="*/ 745982 h 6858000"/>
              <a:gd name="connsiteX411" fmla="*/ 11337196 w 12192000"/>
              <a:gd name="connsiteY411" fmla="*/ 756274 h 6858000"/>
              <a:gd name="connsiteX412" fmla="*/ 11335408 w 12192000"/>
              <a:gd name="connsiteY412" fmla="*/ 769049 h 6858000"/>
              <a:gd name="connsiteX413" fmla="*/ 11341795 w 12192000"/>
              <a:gd name="connsiteY413" fmla="*/ 792955 h 6858000"/>
              <a:gd name="connsiteX414" fmla="*/ 11359753 w 12192000"/>
              <a:gd name="connsiteY414" fmla="*/ 800912 h 6858000"/>
              <a:gd name="connsiteX415" fmla="*/ 11372162 w 12192000"/>
              <a:gd name="connsiteY415" fmla="*/ 797591 h 6858000"/>
              <a:gd name="connsiteX416" fmla="*/ 11381834 w 12192000"/>
              <a:gd name="connsiteY416" fmla="*/ 788612 h 6858000"/>
              <a:gd name="connsiteX417" fmla="*/ 11382455 w 12192000"/>
              <a:gd name="connsiteY417" fmla="*/ 798466 h 6858000"/>
              <a:gd name="connsiteX418" fmla="*/ 11384353 w 12192000"/>
              <a:gd name="connsiteY418" fmla="*/ 800109 h 6858000"/>
              <a:gd name="connsiteX419" fmla="*/ 11387601 w 12192000"/>
              <a:gd name="connsiteY419" fmla="*/ 800109 h 6858000"/>
              <a:gd name="connsiteX420" fmla="*/ 11387601 w 12192000"/>
              <a:gd name="connsiteY420" fmla="*/ 708826 h 6858000"/>
              <a:gd name="connsiteX421" fmla="*/ 11058530 w 12192000"/>
              <a:gd name="connsiteY421" fmla="*/ 708826 h 6858000"/>
              <a:gd name="connsiteX422" fmla="*/ 11058530 w 12192000"/>
              <a:gd name="connsiteY422" fmla="*/ 800109 h 6858000"/>
              <a:gd name="connsiteX423" fmla="*/ 11064552 w 12192000"/>
              <a:gd name="connsiteY423" fmla="*/ 800109 h 6858000"/>
              <a:gd name="connsiteX424" fmla="*/ 11064552 w 12192000"/>
              <a:gd name="connsiteY424" fmla="*/ 708826 h 6858000"/>
              <a:gd name="connsiteX425" fmla="*/ 11560896 w 12192000"/>
              <a:gd name="connsiteY425" fmla="*/ 706855 h 6858000"/>
              <a:gd name="connsiteX426" fmla="*/ 11560896 w 12192000"/>
              <a:gd name="connsiteY426" fmla="*/ 800072 h 6858000"/>
              <a:gd name="connsiteX427" fmla="*/ 11576371 w 12192000"/>
              <a:gd name="connsiteY427" fmla="*/ 800072 h 6858000"/>
              <a:gd name="connsiteX428" fmla="*/ 11576371 w 12192000"/>
              <a:gd name="connsiteY428" fmla="*/ 753537 h 6858000"/>
              <a:gd name="connsiteX429" fmla="*/ 11583014 w 12192000"/>
              <a:gd name="connsiteY429" fmla="*/ 748573 h 6858000"/>
              <a:gd name="connsiteX430" fmla="*/ 11590533 w 12192000"/>
              <a:gd name="connsiteY430" fmla="*/ 746748 h 6858000"/>
              <a:gd name="connsiteX431" fmla="*/ 11598745 w 12192000"/>
              <a:gd name="connsiteY431" fmla="*/ 749996 h 6858000"/>
              <a:gd name="connsiteX432" fmla="*/ 11601446 w 12192000"/>
              <a:gd name="connsiteY432" fmla="*/ 759121 h 6858000"/>
              <a:gd name="connsiteX433" fmla="*/ 11601446 w 12192000"/>
              <a:gd name="connsiteY433" fmla="*/ 800072 h 6858000"/>
              <a:gd name="connsiteX434" fmla="*/ 11616921 w 12192000"/>
              <a:gd name="connsiteY434" fmla="*/ 800072 h 6858000"/>
              <a:gd name="connsiteX435" fmla="*/ 11616921 w 12192000"/>
              <a:gd name="connsiteY435" fmla="*/ 759121 h 6858000"/>
              <a:gd name="connsiteX436" fmla="*/ 11615498 w 12192000"/>
              <a:gd name="connsiteY436" fmla="*/ 749230 h 6858000"/>
              <a:gd name="connsiteX437" fmla="*/ 11611373 w 12192000"/>
              <a:gd name="connsiteY437" fmla="*/ 741529 h 6858000"/>
              <a:gd name="connsiteX438" fmla="*/ 11604585 w 12192000"/>
              <a:gd name="connsiteY438" fmla="*/ 736528 h 6858000"/>
              <a:gd name="connsiteX439" fmla="*/ 11595241 w 12192000"/>
              <a:gd name="connsiteY439" fmla="*/ 734740 h 6858000"/>
              <a:gd name="connsiteX440" fmla="*/ 11584657 w 12192000"/>
              <a:gd name="connsiteY440" fmla="*/ 736930 h 6858000"/>
              <a:gd name="connsiteX441" fmla="*/ 11576371 w 12192000"/>
              <a:gd name="connsiteY441" fmla="*/ 742624 h 6858000"/>
              <a:gd name="connsiteX442" fmla="*/ 11576371 w 12192000"/>
              <a:gd name="connsiteY442" fmla="*/ 706855 h 6858000"/>
              <a:gd name="connsiteX443" fmla="*/ 11321539 w 12192000"/>
              <a:gd name="connsiteY443" fmla="*/ 434247 h 6858000"/>
              <a:gd name="connsiteX444" fmla="*/ 11348438 w 12192000"/>
              <a:gd name="connsiteY444" fmla="*/ 434247 h 6858000"/>
              <a:gd name="connsiteX445" fmla="*/ 11348438 w 12192000"/>
              <a:gd name="connsiteY445" fmla="*/ 438846 h 6858000"/>
              <a:gd name="connsiteX446" fmla="*/ 11333730 w 12192000"/>
              <a:gd name="connsiteY446" fmla="*/ 494871 h 6858000"/>
              <a:gd name="connsiteX447" fmla="*/ 11292340 w 12192000"/>
              <a:gd name="connsiteY447" fmla="*/ 514909 h 6858000"/>
              <a:gd name="connsiteX448" fmla="*/ 11264273 w 12192000"/>
              <a:gd name="connsiteY448" fmla="*/ 504616 h 6858000"/>
              <a:gd name="connsiteX449" fmla="*/ 11253907 w 12192000"/>
              <a:gd name="connsiteY449" fmla="*/ 476877 h 6858000"/>
              <a:gd name="connsiteX450" fmla="*/ 11268872 w 12192000"/>
              <a:gd name="connsiteY450" fmla="*/ 443883 h 6858000"/>
              <a:gd name="connsiteX451" fmla="*/ 11321539 w 12192000"/>
              <a:gd name="connsiteY451" fmla="*/ 434247 h 6858000"/>
              <a:gd name="connsiteX452" fmla="*/ 11301684 w 12192000"/>
              <a:gd name="connsiteY452" fmla="*/ 291866 h 6858000"/>
              <a:gd name="connsiteX453" fmla="*/ 11253068 w 12192000"/>
              <a:gd name="connsiteY453" fmla="*/ 296209 h 6858000"/>
              <a:gd name="connsiteX454" fmla="*/ 11207882 w 12192000"/>
              <a:gd name="connsiteY454" fmla="*/ 309750 h 6858000"/>
              <a:gd name="connsiteX455" fmla="*/ 11207882 w 12192000"/>
              <a:gd name="connsiteY455" fmla="*/ 367053 h 6858000"/>
              <a:gd name="connsiteX456" fmla="*/ 11255039 w 12192000"/>
              <a:gd name="connsiteY456" fmla="*/ 347599 h 6858000"/>
              <a:gd name="connsiteX457" fmla="*/ 11301720 w 12192000"/>
              <a:gd name="connsiteY457" fmla="*/ 341504 h 6858000"/>
              <a:gd name="connsiteX458" fmla="*/ 11336576 w 12192000"/>
              <a:gd name="connsiteY458" fmla="*/ 349899 h 6858000"/>
              <a:gd name="connsiteX459" fmla="*/ 11348438 w 12192000"/>
              <a:gd name="connsiteY459" fmla="*/ 374572 h 6858000"/>
              <a:gd name="connsiteX460" fmla="*/ 11348438 w 12192000"/>
              <a:gd name="connsiteY460" fmla="*/ 385667 h 6858000"/>
              <a:gd name="connsiteX461" fmla="*/ 11301757 w 12192000"/>
              <a:gd name="connsiteY461" fmla="*/ 385667 h 6858000"/>
              <a:gd name="connsiteX462" fmla="*/ 11211532 w 12192000"/>
              <a:gd name="connsiteY462" fmla="*/ 407128 h 6858000"/>
              <a:gd name="connsiteX463" fmla="*/ 11182370 w 12192000"/>
              <a:gd name="connsiteY463" fmla="*/ 473629 h 6858000"/>
              <a:gd name="connsiteX464" fmla="*/ 11206824 w 12192000"/>
              <a:gd name="connsiteY464" fmla="*/ 538414 h 6858000"/>
              <a:gd name="connsiteX465" fmla="*/ 11275149 w 12192000"/>
              <a:gd name="connsiteY465" fmla="*/ 561590 h 6858000"/>
              <a:gd name="connsiteX466" fmla="*/ 11317196 w 12192000"/>
              <a:gd name="connsiteY466" fmla="*/ 552393 h 6858000"/>
              <a:gd name="connsiteX467" fmla="*/ 11348438 w 12192000"/>
              <a:gd name="connsiteY467" fmla="*/ 526187 h 6858000"/>
              <a:gd name="connsiteX468" fmla="*/ 11348438 w 12192000"/>
              <a:gd name="connsiteY468" fmla="*/ 555021 h 6858000"/>
              <a:gd name="connsiteX469" fmla="*/ 11415231 w 12192000"/>
              <a:gd name="connsiteY469" fmla="*/ 555021 h 6858000"/>
              <a:gd name="connsiteX470" fmla="*/ 11415231 w 12192000"/>
              <a:gd name="connsiteY470" fmla="*/ 408223 h 6858000"/>
              <a:gd name="connsiteX471" fmla="*/ 11389791 w 12192000"/>
              <a:gd name="connsiteY471" fmla="*/ 317306 h 6858000"/>
              <a:gd name="connsiteX472" fmla="*/ 11301684 w 12192000"/>
              <a:gd name="connsiteY472" fmla="*/ 291866 h 6858000"/>
              <a:gd name="connsiteX473" fmla="*/ 11492899 w 12192000"/>
              <a:gd name="connsiteY473" fmla="*/ 225110 h 6858000"/>
              <a:gd name="connsiteX474" fmla="*/ 11492899 w 12192000"/>
              <a:gd name="connsiteY474" fmla="*/ 298107 h 6858000"/>
              <a:gd name="connsiteX475" fmla="*/ 11427202 w 12192000"/>
              <a:gd name="connsiteY475" fmla="*/ 298107 h 6858000"/>
              <a:gd name="connsiteX476" fmla="*/ 11427202 w 12192000"/>
              <a:gd name="connsiteY476" fmla="*/ 349935 h 6858000"/>
              <a:gd name="connsiteX477" fmla="*/ 11492899 w 12192000"/>
              <a:gd name="connsiteY477" fmla="*/ 349935 h 6858000"/>
              <a:gd name="connsiteX478" fmla="*/ 11492899 w 12192000"/>
              <a:gd name="connsiteY478" fmla="*/ 467971 h 6858000"/>
              <a:gd name="connsiteX479" fmla="*/ 11513302 w 12192000"/>
              <a:gd name="connsiteY479" fmla="*/ 536552 h 6858000"/>
              <a:gd name="connsiteX480" fmla="*/ 11591518 w 12192000"/>
              <a:gd name="connsiteY480" fmla="*/ 555057 h 6858000"/>
              <a:gd name="connsiteX481" fmla="*/ 11648018 w 12192000"/>
              <a:gd name="connsiteY481" fmla="*/ 555057 h 6858000"/>
              <a:gd name="connsiteX482" fmla="*/ 11648018 w 12192000"/>
              <a:gd name="connsiteY482" fmla="*/ 503229 h 6858000"/>
              <a:gd name="connsiteX483" fmla="*/ 11596336 w 12192000"/>
              <a:gd name="connsiteY483" fmla="*/ 503229 h 6858000"/>
              <a:gd name="connsiteX484" fmla="*/ 11568415 w 12192000"/>
              <a:gd name="connsiteY484" fmla="*/ 495783 h 6858000"/>
              <a:gd name="connsiteX485" fmla="*/ 11560020 w 12192000"/>
              <a:gd name="connsiteY485" fmla="*/ 471183 h 6858000"/>
              <a:gd name="connsiteX486" fmla="*/ 11560020 w 12192000"/>
              <a:gd name="connsiteY486" fmla="*/ 349935 h 6858000"/>
              <a:gd name="connsiteX487" fmla="*/ 11647982 w 12192000"/>
              <a:gd name="connsiteY487" fmla="*/ 349935 h 6858000"/>
              <a:gd name="connsiteX488" fmla="*/ 11647982 w 12192000"/>
              <a:gd name="connsiteY488" fmla="*/ 298107 h 6858000"/>
              <a:gd name="connsiteX489" fmla="*/ 11560020 w 12192000"/>
              <a:gd name="connsiteY489" fmla="*/ 298107 h 6858000"/>
              <a:gd name="connsiteX490" fmla="*/ 11560020 w 12192000"/>
              <a:gd name="connsiteY490" fmla="*/ 225110 h 6858000"/>
              <a:gd name="connsiteX491" fmla="*/ 11773427 w 12192000"/>
              <a:gd name="connsiteY491" fmla="*/ 198101 h 6858000"/>
              <a:gd name="connsiteX492" fmla="*/ 11773427 w 12192000"/>
              <a:gd name="connsiteY492" fmla="*/ 241534 h 6858000"/>
              <a:gd name="connsiteX493" fmla="*/ 11828905 w 12192000"/>
              <a:gd name="connsiteY493" fmla="*/ 241534 h 6858000"/>
              <a:gd name="connsiteX494" fmla="*/ 11828905 w 12192000"/>
              <a:gd name="connsiteY494" fmla="*/ 573671 h 6858000"/>
              <a:gd name="connsiteX495" fmla="*/ 11773427 w 12192000"/>
              <a:gd name="connsiteY495" fmla="*/ 573671 h 6858000"/>
              <a:gd name="connsiteX496" fmla="*/ 11773427 w 12192000"/>
              <a:gd name="connsiteY496" fmla="*/ 617105 h 6858000"/>
              <a:gd name="connsiteX497" fmla="*/ 11889857 w 12192000"/>
              <a:gd name="connsiteY497" fmla="*/ 617105 h 6858000"/>
              <a:gd name="connsiteX498" fmla="*/ 11889857 w 12192000"/>
              <a:gd name="connsiteY498" fmla="*/ 198101 h 6858000"/>
              <a:gd name="connsiteX499" fmla="*/ 10990132 w 12192000"/>
              <a:gd name="connsiteY499" fmla="*/ 197736 h 6858000"/>
              <a:gd name="connsiteX500" fmla="*/ 10990132 w 12192000"/>
              <a:gd name="connsiteY500" fmla="*/ 617105 h 6858000"/>
              <a:gd name="connsiteX501" fmla="*/ 11106635 w 12192000"/>
              <a:gd name="connsiteY501" fmla="*/ 617105 h 6858000"/>
              <a:gd name="connsiteX502" fmla="*/ 11106635 w 12192000"/>
              <a:gd name="connsiteY502" fmla="*/ 573671 h 6858000"/>
              <a:gd name="connsiteX503" fmla="*/ 11051085 w 12192000"/>
              <a:gd name="connsiteY503" fmla="*/ 573671 h 6858000"/>
              <a:gd name="connsiteX504" fmla="*/ 11051085 w 12192000"/>
              <a:gd name="connsiteY504" fmla="*/ 241169 h 6858000"/>
              <a:gd name="connsiteX505" fmla="*/ 11106635 w 12192000"/>
              <a:gd name="connsiteY505" fmla="*/ 241169 h 6858000"/>
              <a:gd name="connsiteX506" fmla="*/ 11106635 w 12192000"/>
              <a:gd name="connsiteY506" fmla="*/ 197736 h 6858000"/>
              <a:gd name="connsiteX507" fmla="*/ 0 w 12192000"/>
              <a:gd name="connsiteY507" fmla="*/ 0 h 6858000"/>
              <a:gd name="connsiteX508" fmla="*/ 12192000 w 12192000"/>
              <a:gd name="connsiteY508" fmla="*/ 0 h 6858000"/>
              <a:gd name="connsiteX509" fmla="*/ 12192000 w 12192000"/>
              <a:gd name="connsiteY509" fmla="*/ 6858000 h 6858000"/>
              <a:gd name="connsiteX510" fmla="*/ 0 w 12192000"/>
              <a:gd name="connsiteY5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</a:cxnLst>
            <a:rect l="l" t="t" r="r" b="b"/>
            <a:pathLst>
              <a:path w="12192000" h="6858000">
                <a:moveTo>
                  <a:pt x="11665610" y="772625"/>
                </a:moveTo>
                <a:lnTo>
                  <a:pt x="11665610" y="783465"/>
                </a:lnTo>
                <a:cubicBezTo>
                  <a:pt x="11663421" y="785837"/>
                  <a:pt x="11661158" y="787553"/>
                  <a:pt x="11658822" y="788721"/>
                </a:cubicBezTo>
                <a:cubicBezTo>
                  <a:pt x="11656486" y="789852"/>
                  <a:pt x="11653748" y="790436"/>
                  <a:pt x="11650573" y="790436"/>
                </a:cubicBezTo>
                <a:cubicBezTo>
                  <a:pt x="11647982" y="790436"/>
                  <a:pt x="11645865" y="789852"/>
                  <a:pt x="11644259" y="788684"/>
                </a:cubicBezTo>
                <a:cubicBezTo>
                  <a:pt x="11642653" y="787516"/>
                  <a:pt x="11641850" y="785545"/>
                  <a:pt x="11641850" y="782845"/>
                </a:cubicBezTo>
                <a:cubicBezTo>
                  <a:pt x="11641850" y="781458"/>
                  <a:pt x="11642251" y="780180"/>
                  <a:pt x="11643054" y="779012"/>
                </a:cubicBezTo>
                <a:cubicBezTo>
                  <a:pt x="11643821" y="777844"/>
                  <a:pt x="11645171" y="776822"/>
                  <a:pt x="11646996" y="775946"/>
                </a:cubicBezTo>
                <a:cubicBezTo>
                  <a:pt x="11648821" y="775070"/>
                  <a:pt x="11651266" y="774340"/>
                  <a:pt x="11654332" y="773793"/>
                </a:cubicBezTo>
                <a:cubicBezTo>
                  <a:pt x="11657362" y="773209"/>
                  <a:pt x="11661121" y="772844"/>
                  <a:pt x="11665610" y="772625"/>
                </a:cubicBezTo>
                <a:close/>
                <a:moveTo>
                  <a:pt x="11244271" y="769924"/>
                </a:moveTo>
                <a:lnTo>
                  <a:pt x="11244308" y="769924"/>
                </a:lnTo>
                <a:lnTo>
                  <a:pt x="11244308" y="786276"/>
                </a:lnTo>
                <a:cubicBezTo>
                  <a:pt x="11242848" y="787772"/>
                  <a:pt x="11241352" y="789195"/>
                  <a:pt x="11239855" y="790473"/>
                </a:cubicBezTo>
                <a:cubicBezTo>
                  <a:pt x="11238359" y="791787"/>
                  <a:pt x="11236753" y="792882"/>
                  <a:pt x="11235001" y="793831"/>
                </a:cubicBezTo>
                <a:cubicBezTo>
                  <a:pt x="11233249" y="794780"/>
                  <a:pt x="11231387" y="795510"/>
                  <a:pt x="11229344" y="796021"/>
                </a:cubicBezTo>
                <a:cubicBezTo>
                  <a:pt x="11227300" y="796532"/>
                  <a:pt x="11225073" y="796787"/>
                  <a:pt x="11222664" y="796787"/>
                </a:cubicBezTo>
                <a:cubicBezTo>
                  <a:pt x="11221022" y="796787"/>
                  <a:pt x="11219452" y="796568"/>
                  <a:pt x="11217956" y="796094"/>
                </a:cubicBezTo>
                <a:cubicBezTo>
                  <a:pt x="11216460" y="795656"/>
                  <a:pt x="11215109" y="794926"/>
                  <a:pt x="11213978" y="793940"/>
                </a:cubicBezTo>
                <a:cubicBezTo>
                  <a:pt x="11212810" y="792955"/>
                  <a:pt x="11211897" y="791714"/>
                  <a:pt x="11211204" y="790181"/>
                </a:cubicBezTo>
                <a:cubicBezTo>
                  <a:pt x="11210510" y="788648"/>
                  <a:pt x="11210182" y="786823"/>
                  <a:pt x="11210182" y="784743"/>
                </a:cubicBezTo>
                <a:cubicBezTo>
                  <a:pt x="11210182" y="782553"/>
                  <a:pt x="11210839" y="780582"/>
                  <a:pt x="11212189" y="778830"/>
                </a:cubicBezTo>
                <a:cubicBezTo>
                  <a:pt x="11213503" y="777078"/>
                  <a:pt x="11215584" y="775581"/>
                  <a:pt x="11218357" y="774341"/>
                </a:cubicBezTo>
                <a:cubicBezTo>
                  <a:pt x="11221131" y="773063"/>
                  <a:pt x="11224672" y="772078"/>
                  <a:pt x="11228942" y="771348"/>
                </a:cubicBezTo>
                <a:cubicBezTo>
                  <a:pt x="11233212" y="770618"/>
                  <a:pt x="11238322" y="770143"/>
                  <a:pt x="11244271" y="769924"/>
                </a:cubicBezTo>
                <a:close/>
                <a:moveTo>
                  <a:pt x="11032215" y="769924"/>
                </a:moveTo>
                <a:lnTo>
                  <a:pt x="11032251" y="769924"/>
                </a:lnTo>
                <a:lnTo>
                  <a:pt x="11032251" y="786276"/>
                </a:lnTo>
                <a:cubicBezTo>
                  <a:pt x="11030791" y="787772"/>
                  <a:pt x="11029295" y="789195"/>
                  <a:pt x="11027799" y="790473"/>
                </a:cubicBezTo>
                <a:cubicBezTo>
                  <a:pt x="11026302" y="791787"/>
                  <a:pt x="11024696" y="792882"/>
                  <a:pt x="11022944" y="793831"/>
                </a:cubicBezTo>
                <a:cubicBezTo>
                  <a:pt x="11021192" y="794780"/>
                  <a:pt x="11019331" y="795510"/>
                  <a:pt x="11017287" y="796021"/>
                </a:cubicBezTo>
                <a:cubicBezTo>
                  <a:pt x="11015243" y="796532"/>
                  <a:pt x="11013017" y="796787"/>
                  <a:pt x="11010608" y="796787"/>
                </a:cubicBezTo>
                <a:cubicBezTo>
                  <a:pt x="11008965" y="796787"/>
                  <a:pt x="11007396" y="796568"/>
                  <a:pt x="11005899" y="796094"/>
                </a:cubicBezTo>
                <a:cubicBezTo>
                  <a:pt x="11004403" y="795656"/>
                  <a:pt x="11003053" y="794926"/>
                  <a:pt x="11001921" y="793940"/>
                </a:cubicBezTo>
                <a:cubicBezTo>
                  <a:pt x="11000753" y="792955"/>
                  <a:pt x="10999841" y="791714"/>
                  <a:pt x="10999147" y="790181"/>
                </a:cubicBezTo>
                <a:cubicBezTo>
                  <a:pt x="10998454" y="788648"/>
                  <a:pt x="10998125" y="786823"/>
                  <a:pt x="10998125" y="784743"/>
                </a:cubicBezTo>
                <a:cubicBezTo>
                  <a:pt x="10998125" y="782553"/>
                  <a:pt x="10998782" y="780582"/>
                  <a:pt x="11000133" y="778830"/>
                </a:cubicBezTo>
                <a:cubicBezTo>
                  <a:pt x="11001447" y="777078"/>
                  <a:pt x="11003527" y="775581"/>
                  <a:pt x="11006301" y="774341"/>
                </a:cubicBezTo>
                <a:cubicBezTo>
                  <a:pt x="11009075" y="773063"/>
                  <a:pt x="11012615" y="772078"/>
                  <a:pt x="11016886" y="771348"/>
                </a:cubicBezTo>
                <a:cubicBezTo>
                  <a:pt x="11021156" y="770618"/>
                  <a:pt x="11026266" y="770143"/>
                  <a:pt x="11032215" y="769924"/>
                </a:cubicBezTo>
                <a:close/>
                <a:moveTo>
                  <a:pt x="11363804" y="741310"/>
                </a:moveTo>
                <a:cubicBezTo>
                  <a:pt x="11367527" y="741310"/>
                  <a:pt x="11370812" y="742040"/>
                  <a:pt x="11373731" y="743500"/>
                </a:cubicBezTo>
                <a:cubicBezTo>
                  <a:pt x="11376615" y="744960"/>
                  <a:pt x="11379279" y="747478"/>
                  <a:pt x="11381652" y="751091"/>
                </a:cubicBezTo>
                <a:lnTo>
                  <a:pt x="11381688" y="751091"/>
                </a:lnTo>
                <a:lnTo>
                  <a:pt x="11381688" y="783904"/>
                </a:lnTo>
                <a:cubicBezTo>
                  <a:pt x="11379097" y="787772"/>
                  <a:pt x="11376104" y="790765"/>
                  <a:pt x="11372710" y="792882"/>
                </a:cubicBezTo>
                <a:cubicBezTo>
                  <a:pt x="11369315" y="795036"/>
                  <a:pt x="11365556" y="796094"/>
                  <a:pt x="11361468" y="796094"/>
                </a:cubicBezTo>
                <a:cubicBezTo>
                  <a:pt x="11355008" y="796094"/>
                  <a:pt x="11350080" y="793904"/>
                  <a:pt x="11346686" y="789524"/>
                </a:cubicBezTo>
                <a:cubicBezTo>
                  <a:pt x="11343292" y="785144"/>
                  <a:pt x="11341576" y="778319"/>
                  <a:pt x="11341576" y="769049"/>
                </a:cubicBezTo>
                <a:cubicBezTo>
                  <a:pt x="11341576" y="764961"/>
                  <a:pt x="11342051" y="761201"/>
                  <a:pt x="11343000" y="757807"/>
                </a:cubicBezTo>
                <a:cubicBezTo>
                  <a:pt x="11343949" y="754376"/>
                  <a:pt x="11345336" y="751456"/>
                  <a:pt x="11347197" y="749011"/>
                </a:cubicBezTo>
                <a:cubicBezTo>
                  <a:pt x="11349058" y="746565"/>
                  <a:pt x="11351358" y="744668"/>
                  <a:pt x="11354132" y="743317"/>
                </a:cubicBezTo>
                <a:cubicBezTo>
                  <a:pt x="11356906" y="741967"/>
                  <a:pt x="11360118" y="741310"/>
                  <a:pt x="11363804" y="741310"/>
                </a:cubicBezTo>
                <a:close/>
                <a:moveTo>
                  <a:pt x="11432604" y="741126"/>
                </a:moveTo>
                <a:cubicBezTo>
                  <a:pt x="11435451" y="741126"/>
                  <a:pt x="11438042" y="741601"/>
                  <a:pt x="11440415" y="742586"/>
                </a:cubicBezTo>
                <a:cubicBezTo>
                  <a:pt x="11442787" y="743572"/>
                  <a:pt x="11444831" y="744995"/>
                  <a:pt x="11446546" y="746820"/>
                </a:cubicBezTo>
                <a:cubicBezTo>
                  <a:pt x="11448262" y="748682"/>
                  <a:pt x="11449576" y="750908"/>
                  <a:pt x="11450525" y="753572"/>
                </a:cubicBezTo>
                <a:cubicBezTo>
                  <a:pt x="11451474" y="756237"/>
                  <a:pt x="11451948" y="759230"/>
                  <a:pt x="11451948" y="762587"/>
                </a:cubicBezTo>
                <a:lnTo>
                  <a:pt x="11410595" y="762587"/>
                </a:lnTo>
                <a:cubicBezTo>
                  <a:pt x="11410960" y="759339"/>
                  <a:pt x="11411727" y="756383"/>
                  <a:pt x="11412858" y="753755"/>
                </a:cubicBezTo>
                <a:cubicBezTo>
                  <a:pt x="11413990" y="751090"/>
                  <a:pt x="11415486" y="748864"/>
                  <a:pt x="11417347" y="746966"/>
                </a:cubicBezTo>
                <a:cubicBezTo>
                  <a:pt x="11419209" y="745068"/>
                  <a:pt x="11421399" y="743645"/>
                  <a:pt x="11423954" y="742623"/>
                </a:cubicBezTo>
                <a:cubicBezTo>
                  <a:pt x="11426509" y="741637"/>
                  <a:pt x="11429392" y="741126"/>
                  <a:pt x="11432604" y="741126"/>
                </a:cubicBezTo>
                <a:close/>
                <a:moveTo>
                  <a:pt x="11110139" y="741126"/>
                </a:moveTo>
                <a:cubicBezTo>
                  <a:pt x="11112986" y="741126"/>
                  <a:pt x="11115577" y="741601"/>
                  <a:pt x="11117950" y="742586"/>
                </a:cubicBezTo>
                <a:cubicBezTo>
                  <a:pt x="11120322" y="743572"/>
                  <a:pt x="11122366" y="744995"/>
                  <a:pt x="11124081" y="746820"/>
                </a:cubicBezTo>
                <a:cubicBezTo>
                  <a:pt x="11125797" y="748682"/>
                  <a:pt x="11127111" y="750908"/>
                  <a:pt x="11128060" y="753572"/>
                </a:cubicBezTo>
                <a:cubicBezTo>
                  <a:pt x="11129009" y="756237"/>
                  <a:pt x="11129483" y="759230"/>
                  <a:pt x="11129483" y="762587"/>
                </a:cubicBezTo>
                <a:lnTo>
                  <a:pt x="11088130" y="762587"/>
                </a:lnTo>
                <a:cubicBezTo>
                  <a:pt x="11088495" y="759339"/>
                  <a:pt x="11089262" y="756383"/>
                  <a:pt x="11090393" y="753755"/>
                </a:cubicBezTo>
                <a:cubicBezTo>
                  <a:pt x="11091525" y="751090"/>
                  <a:pt x="11093021" y="748864"/>
                  <a:pt x="11094882" y="746966"/>
                </a:cubicBezTo>
                <a:cubicBezTo>
                  <a:pt x="11096744" y="745068"/>
                  <a:pt x="11098934" y="743645"/>
                  <a:pt x="11101489" y="742623"/>
                </a:cubicBezTo>
                <a:cubicBezTo>
                  <a:pt x="11104044" y="741637"/>
                  <a:pt x="11106927" y="741126"/>
                  <a:pt x="11110139" y="741126"/>
                </a:cubicBezTo>
                <a:close/>
                <a:moveTo>
                  <a:pt x="11143791" y="737659"/>
                </a:moveTo>
                <a:lnTo>
                  <a:pt x="11165617" y="768135"/>
                </a:lnTo>
                <a:lnTo>
                  <a:pt x="11142915" y="800072"/>
                </a:lnTo>
                <a:lnTo>
                  <a:pt x="11148317" y="800072"/>
                </a:lnTo>
                <a:cubicBezTo>
                  <a:pt x="11148828" y="800072"/>
                  <a:pt x="11149229" y="799889"/>
                  <a:pt x="11149558" y="799561"/>
                </a:cubicBezTo>
                <a:cubicBezTo>
                  <a:pt x="11149886" y="799232"/>
                  <a:pt x="11150178" y="798867"/>
                  <a:pt x="11150470" y="798502"/>
                </a:cubicBezTo>
                <a:lnTo>
                  <a:pt x="11168537" y="773026"/>
                </a:lnTo>
                <a:cubicBezTo>
                  <a:pt x="11169011" y="772333"/>
                  <a:pt x="11169303" y="771603"/>
                  <a:pt x="11169486" y="770836"/>
                </a:cubicBezTo>
                <a:lnTo>
                  <a:pt x="11188429" y="798502"/>
                </a:lnTo>
                <a:cubicBezTo>
                  <a:pt x="11188611" y="798831"/>
                  <a:pt x="11188903" y="799159"/>
                  <a:pt x="11189232" y="799524"/>
                </a:cubicBezTo>
                <a:cubicBezTo>
                  <a:pt x="11189560" y="799889"/>
                  <a:pt x="11190035" y="800072"/>
                  <a:pt x="11190619" y="800072"/>
                </a:cubicBezTo>
                <a:lnTo>
                  <a:pt x="11196312" y="800072"/>
                </a:lnTo>
                <a:lnTo>
                  <a:pt x="11173647" y="767770"/>
                </a:lnTo>
                <a:lnTo>
                  <a:pt x="11195400" y="737659"/>
                </a:lnTo>
                <a:lnTo>
                  <a:pt x="11189925" y="737659"/>
                </a:lnTo>
                <a:cubicBezTo>
                  <a:pt x="11189451" y="737659"/>
                  <a:pt x="11189086" y="737768"/>
                  <a:pt x="11188794" y="738024"/>
                </a:cubicBezTo>
                <a:cubicBezTo>
                  <a:pt x="11188502" y="738279"/>
                  <a:pt x="11188246" y="738608"/>
                  <a:pt x="11187991" y="738973"/>
                </a:cubicBezTo>
                <a:lnTo>
                  <a:pt x="11170873" y="763135"/>
                </a:lnTo>
                <a:cubicBezTo>
                  <a:pt x="11170690" y="763500"/>
                  <a:pt x="11170471" y="763901"/>
                  <a:pt x="11170289" y="764266"/>
                </a:cubicBezTo>
                <a:cubicBezTo>
                  <a:pt x="11170106" y="764631"/>
                  <a:pt x="11169960" y="764996"/>
                  <a:pt x="11169887" y="765325"/>
                </a:cubicBezTo>
                <a:lnTo>
                  <a:pt x="11151565" y="738900"/>
                </a:lnTo>
                <a:cubicBezTo>
                  <a:pt x="11151346" y="738571"/>
                  <a:pt x="11151091" y="738279"/>
                  <a:pt x="11150799" y="738024"/>
                </a:cubicBezTo>
                <a:cubicBezTo>
                  <a:pt x="11150507" y="737768"/>
                  <a:pt x="11150069" y="737659"/>
                  <a:pt x="11149485" y="737659"/>
                </a:cubicBezTo>
                <a:close/>
                <a:moveTo>
                  <a:pt x="11432494" y="736710"/>
                </a:moveTo>
                <a:cubicBezTo>
                  <a:pt x="11428042" y="736710"/>
                  <a:pt x="11424100" y="737513"/>
                  <a:pt x="11420596" y="739046"/>
                </a:cubicBezTo>
                <a:cubicBezTo>
                  <a:pt x="11417128" y="740579"/>
                  <a:pt x="11414172" y="742732"/>
                  <a:pt x="11411763" y="745470"/>
                </a:cubicBezTo>
                <a:cubicBezTo>
                  <a:pt x="11409354" y="748207"/>
                  <a:pt x="11407529" y="751455"/>
                  <a:pt x="11406252" y="755251"/>
                </a:cubicBezTo>
                <a:cubicBezTo>
                  <a:pt x="11404974" y="759011"/>
                  <a:pt x="11404354" y="763135"/>
                  <a:pt x="11404354" y="767624"/>
                </a:cubicBezTo>
                <a:cubicBezTo>
                  <a:pt x="11404354" y="772953"/>
                  <a:pt x="11405047" y="777661"/>
                  <a:pt x="11406398" y="781786"/>
                </a:cubicBezTo>
                <a:cubicBezTo>
                  <a:pt x="11407748" y="785910"/>
                  <a:pt x="11409683" y="789377"/>
                  <a:pt x="11412201" y="792224"/>
                </a:cubicBezTo>
                <a:cubicBezTo>
                  <a:pt x="11414683" y="795071"/>
                  <a:pt x="11417676" y="797225"/>
                  <a:pt x="11421216" y="798721"/>
                </a:cubicBezTo>
                <a:cubicBezTo>
                  <a:pt x="11424757" y="800218"/>
                  <a:pt x="11428626" y="800947"/>
                  <a:pt x="11432896" y="800947"/>
                </a:cubicBezTo>
                <a:cubicBezTo>
                  <a:pt x="11435268" y="800947"/>
                  <a:pt x="11437568" y="800728"/>
                  <a:pt x="11439904" y="800254"/>
                </a:cubicBezTo>
                <a:cubicBezTo>
                  <a:pt x="11442239" y="799780"/>
                  <a:pt x="11444393" y="799159"/>
                  <a:pt x="11446437" y="798393"/>
                </a:cubicBezTo>
                <a:cubicBezTo>
                  <a:pt x="11448444" y="797626"/>
                  <a:pt x="11450306" y="796714"/>
                  <a:pt x="11451948" y="795619"/>
                </a:cubicBezTo>
                <a:cubicBezTo>
                  <a:pt x="11453591" y="794524"/>
                  <a:pt x="11454904" y="793356"/>
                  <a:pt x="11455926" y="792115"/>
                </a:cubicBezTo>
                <a:lnTo>
                  <a:pt x="11454284" y="790107"/>
                </a:lnTo>
                <a:cubicBezTo>
                  <a:pt x="11453992" y="789706"/>
                  <a:pt x="11453591" y="789487"/>
                  <a:pt x="11453043" y="789487"/>
                </a:cubicBezTo>
                <a:cubicBezTo>
                  <a:pt x="11452642" y="789487"/>
                  <a:pt x="11451948" y="789815"/>
                  <a:pt x="11451036" y="790509"/>
                </a:cubicBezTo>
                <a:cubicBezTo>
                  <a:pt x="11450123" y="791202"/>
                  <a:pt x="11448882" y="792005"/>
                  <a:pt x="11447313" y="792845"/>
                </a:cubicBezTo>
                <a:cubicBezTo>
                  <a:pt x="11445743" y="793721"/>
                  <a:pt x="11443809" y="794487"/>
                  <a:pt x="11441510" y="795181"/>
                </a:cubicBezTo>
                <a:cubicBezTo>
                  <a:pt x="11439210" y="795874"/>
                  <a:pt x="11436509" y="796203"/>
                  <a:pt x="11433370" y="796203"/>
                </a:cubicBezTo>
                <a:cubicBezTo>
                  <a:pt x="11429866" y="796203"/>
                  <a:pt x="11426691" y="795582"/>
                  <a:pt x="11423844" y="794378"/>
                </a:cubicBezTo>
                <a:cubicBezTo>
                  <a:pt x="11420997" y="793137"/>
                  <a:pt x="11418588" y="791348"/>
                  <a:pt x="11416581" y="788939"/>
                </a:cubicBezTo>
                <a:cubicBezTo>
                  <a:pt x="11414574" y="786531"/>
                  <a:pt x="11413041" y="783538"/>
                  <a:pt x="11411946" y="779997"/>
                </a:cubicBezTo>
                <a:cubicBezTo>
                  <a:pt x="11410851" y="776420"/>
                  <a:pt x="11410303" y="772296"/>
                  <a:pt x="11410303" y="767624"/>
                </a:cubicBezTo>
                <a:lnTo>
                  <a:pt x="11410303" y="766493"/>
                </a:lnTo>
                <a:lnTo>
                  <a:pt x="11455671" y="766493"/>
                </a:lnTo>
                <a:cubicBezTo>
                  <a:pt x="11456255" y="766493"/>
                  <a:pt x="11456656" y="766310"/>
                  <a:pt x="11456912" y="765982"/>
                </a:cubicBezTo>
                <a:cubicBezTo>
                  <a:pt x="11457167" y="765617"/>
                  <a:pt x="11457277" y="764996"/>
                  <a:pt x="11457277" y="764084"/>
                </a:cubicBezTo>
                <a:cubicBezTo>
                  <a:pt x="11457277" y="759668"/>
                  <a:pt x="11456656" y="755799"/>
                  <a:pt x="11455379" y="752404"/>
                </a:cubicBezTo>
                <a:cubicBezTo>
                  <a:pt x="11454102" y="749010"/>
                  <a:pt x="11452350" y="746163"/>
                  <a:pt x="11450123" y="743827"/>
                </a:cubicBezTo>
                <a:cubicBezTo>
                  <a:pt x="11447897" y="741528"/>
                  <a:pt x="11445269" y="739739"/>
                  <a:pt x="11442276" y="738535"/>
                </a:cubicBezTo>
                <a:cubicBezTo>
                  <a:pt x="11439283" y="737331"/>
                  <a:pt x="11435998" y="736710"/>
                  <a:pt x="11432494" y="736710"/>
                </a:cubicBezTo>
                <a:close/>
                <a:moveTo>
                  <a:pt x="11110029" y="736710"/>
                </a:moveTo>
                <a:cubicBezTo>
                  <a:pt x="11105577" y="736710"/>
                  <a:pt x="11101635" y="737513"/>
                  <a:pt x="11098131" y="739046"/>
                </a:cubicBezTo>
                <a:cubicBezTo>
                  <a:pt x="11094663" y="740579"/>
                  <a:pt x="11091707" y="742732"/>
                  <a:pt x="11089298" y="745470"/>
                </a:cubicBezTo>
                <a:cubicBezTo>
                  <a:pt x="11086889" y="748207"/>
                  <a:pt x="11085064" y="751455"/>
                  <a:pt x="11083787" y="755251"/>
                </a:cubicBezTo>
                <a:cubicBezTo>
                  <a:pt x="11082509" y="759011"/>
                  <a:pt x="11081889" y="763135"/>
                  <a:pt x="11081889" y="767624"/>
                </a:cubicBezTo>
                <a:cubicBezTo>
                  <a:pt x="11081889" y="772953"/>
                  <a:pt x="11082582" y="777661"/>
                  <a:pt x="11083933" y="781786"/>
                </a:cubicBezTo>
                <a:cubicBezTo>
                  <a:pt x="11085283" y="785910"/>
                  <a:pt x="11087218" y="789377"/>
                  <a:pt x="11089736" y="792224"/>
                </a:cubicBezTo>
                <a:cubicBezTo>
                  <a:pt x="11092218" y="795071"/>
                  <a:pt x="11095247" y="797225"/>
                  <a:pt x="11098751" y="798721"/>
                </a:cubicBezTo>
                <a:cubicBezTo>
                  <a:pt x="11102292" y="800218"/>
                  <a:pt x="11106161" y="800947"/>
                  <a:pt x="11110431" y="800947"/>
                </a:cubicBezTo>
                <a:cubicBezTo>
                  <a:pt x="11112803" y="800947"/>
                  <a:pt x="11115103" y="800728"/>
                  <a:pt x="11117439" y="800254"/>
                </a:cubicBezTo>
                <a:cubicBezTo>
                  <a:pt x="11119774" y="799780"/>
                  <a:pt x="11121928" y="799159"/>
                  <a:pt x="11123972" y="798393"/>
                </a:cubicBezTo>
                <a:cubicBezTo>
                  <a:pt x="11125979" y="797626"/>
                  <a:pt x="11127841" y="796714"/>
                  <a:pt x="11129483" y="795619"/>
                </a:cubicBezTo>
                <a:cubicBezTo>
                  <a:pt x="11131126" y="794524"/>
                  <a:pt x="11132439" y="793356"/>
                  <a:pt x="11133461" y="792115"/>
                </a:cubicBezTo>
                <a:lnTo>
                  <a:pt x="11131819" y="790107"/>
                </a:lnTo>
                <a:cubicBezTo>
                  <a:pt x="11131527" y="789706"/>
                  <a:pt x="11131126" y="789487"/>
                  <a:pt x="11130578" y="789487"/>
                </a:cubicBezTo>
                <a:cubicBezTo>
                  <a:pt x="11130177" y="789487"/>
                  <a:pt x="11129483" y="789815"/>
                  <a:pt x="11128571" y="790509"/>
                </a:cubicBezTo>
                <a:cubicBezTo>
                  <a:pt x="11127658" y="791202"/>
                  <a:pt x="11126417" y="792005"/>
                  <a:pt x="11124848" y="792845"/>
                </a:cubicBezTo>
                <a:cubicBezTo>
                  <a:pt x="11123278" y="793721"/>
                  <a:pt x="11121344" y="794487"/>
                  <a:pt x="11119045" y="795181"/>
                </a:cubicBezTo>
                <a:cubicBezTo>
                  <a:pt x="11116745" y="795874"/>
                  <a:pt x="11114044" y="796203"/>
                  <a:pt x="11110905" y="796203"/>
                </a:cubicBezTo>
                <a:cubicBezTo>
                  <a:pt x="11107401" y="796203"/>
                  <a:pt x="11104226" y="795582"/>
                  <a:pt x="11101379" y="794378"/>
                </a:cubicBezTo>
                <a:cubicBezTo>
                  <a:pt x="11098532" y="793137"/>
                  <a:pt x="11096123" y="791348"/>
                  <a:pt x="11094116" y="788939"/>
                </a:cubicBezTo>
                <a:cubicBezTo>
                  <a:pt x="11092109" y="786531"/>
                  <a:pt x="11090576" y="783538"/>
                  <a:pt x="11089481" y="779997"/>
                </a:cubicBezTo>
                <a:cubicBezTo>
                  <a:pt x="11088386" y="776420"/>
                  <a:pt x="11087838" y="772296"/>
                  <a:pt x="11087838" y="767624"/>
                </a:cubicBezTo>
                <a:lnTo>
                  <a:pt x="11087838" y="766493"/>
                </a:lnTo>
                <a:lnTo>
                  <a:pt x="11133206" y="766493"/>
                </a:lnTo>
                <a:cubicBezTo>
                  <a:pt x="11133790" y="766493"/>
                  <a:pt x="11134191" y="766310"/>
                  <a:pt x="11134447" y="765982"/>
                </a:cubicBezTo>
                <a:cubicBezTo>
                  <a:pt x="11134702" y="765617"/>
                  <a:pt x="11134812" y="764996"/>
                  <a:pt x="11134812" y="764084"/>
                </a:cubicBezTo>
                <a:cubicBezTo>
                  <a:pt x="11134812" y="759668"/>
                  <a:pt x="11134191" y="755799"/>
                  <a:pt x="11132914" y="752404"/>
                </a:cubicBezTo>
                <a:cubicBezTo>
                  <a:pt x="11131637" y="749010"/>
                  <a:pt x="11129885" y="746163"/>
                  <a:pt x="11127658" y="743827"/>
                </a:cubicBezTo>
                <a:cubicBezTo>
                  <a:pt x="11125432" y="741528"/>
                  <a:pt x="11122804" y="739739"/>
                  <a:pt x="11119811" y="738535"/>
                </a:cubicBezTo>
                <a:cubicBezTo>
                  <a:pt x="11116818" y="737331"/>
                  <a:pt x="11113533" y="736710"/>
                  <a:pt x="11110029" y="736710"/>
                </a:cubicBezTo>
                <a:close/>
                <a:moveTo>
                  <a:pt x="11298399" y="736674"/>
                </a:moveTo>
                <a:cubicBezTo>
                  <a:pt x="11293764" y="736674"/>
                  <a:pt x="11289566" y="737732"/>
                  <a:pt x="11285770" y="739922"/>
                </a:cubicBezTo>
                <a:cubicBezTo>
                  <a:pt x="11281975" y="742076"/>
                  <a:pt x="11278653" y="744959"/>
                  <a:pt x="11275770" y="748573"/>
                </a:cubicBezTo>
                <a:lnTo>
                  <a:pt x="11275222" y="739265"/>
                </a:lnTo>
                <a:cubicBezTo>
                  <a:pt x="11275040" y="738207"/>
                  <a:pt x="11274456" y="737696"/>
                  <a:pt x="11273397" y="737696"/>
                </a:cubicBezTo>
                <a:lnTo>
                  <a:pt x="11270076" y="737696"/>
                </a:lnTo>
                <a:lnTo>
                  <a:pt x="11270076" y="800109"/>
                </a:lnTo>
                <a:lnTo>
                  <a:pt x="11276062" y="800109"/>
                </a:lnTo>
                <a:lnTo>
                  <a:pt x="11276062" y="753171"/>
                </a:lnTo>
                <a:cubicBezTo>
                  <a:pt x="11278836" y="749485"/>
                  <a:pt x="11281975" y="746638"/>
                  <a:pt x="11285515" y="744558"/>
                </a:cubicBezTo>
                <a:cubicBezTo>
                  <a:pt x="11289055" y="742477"/>
                  <a:pt x="11292851" y="741455"/>
                  <a:pt x="11296902" y="741455"/>
                </a:cubicBezTo>
                <a:cubicBezTo>
                  <a:pt x="11302377" y="741455"/>
                  <a:pt x="11306465" y="743134"/>
                  <a:pt x="11309129" y="746456"/>
                </a:cubicBezTo>
                <a:cubicBezTo>
                  <a:pt x="11311794" y="749777"/>
                  <a:pt x="11313144" y="754376"/>
                  <a:pt x="11313144" y="760216"/>
                </a:cubicBezTo>
                <a:lnTo>
                  <a:pt x="11313144" y="800109"/>
                </a:lnTo>
                <a:lnTo>
                  <a:pt x="11319167" y="800109"/>
                </a:lnTo>
                <a:lnTo>
                  <a:pt x="11319167" y="760216"/>
                </a:lnTo>
                <a:cubicBezTo>
                  <a:pt x="11319167" y="756566"/>
                  <a:pt x="11318765" y="753317"/>
                  <a:pt x="11317853" y="750434"/>
                </a:cubicBezTo>
                <a:cubicBezTo>
                  <a:pt x="11316940" y="747551"/>
                  <a:pt x="11315663" y="745069"/>
                  <a:pt x="11313947" y="743025"/>
                </a:cubicBezTo>
                <a:cubicBezTo>
                  <a:pt x="11312232" y="740981"/>
                  <a:pt x="11310078" y="739411"/>
                  <a:pt x="11307451" y="738316"/>
                </a:cubicBezTo>
                <a:cubicBezTo>
                  <a:pt x="11304859" y="737221"/>
                  <a:pt x="11301830" y="736674"/>
                  <a:pt x="11298399" y="736674"/>
                </a:cubicBezTo>
                <a:close/>
                <a:moveTo>
                  <a:pt x="11498886" y="736637"/>
                </a:moveTo>
                <a:cubicBezTo>
                  <a:pt x="11496477" y="736637"/>
                  <a:pt x="11494250" y="737002"/>
                  <a:pt x="11492279" y="737732"/>
                </a:cubicBezTo>
                <a:cubicBezTo>
                  <a:pt x="11490272" y="738462"/>
                  <a:pt x="11488483" y="739520"/>
                  <a:pt x="11486877" y="740907"/>
                </a:cubicBezTo>
                <a:cubicBezTo>
                  <a:pt x="11485272" y="742258"/>
                  <a:pt x="11483848" y="743973"/>
                  <a:pt x="11482607" y="745944"/>
                </a:cubicBezTo>
                <a:cubicBezTo>
                  <a:pt x="11481366" y="747915"/>
                  <a:pt x="11480271" y="750178"/>
                  <a:pt x="11479322" y="752733"/>
                </a:cubicBezTo>
                <a:lnTo>
                  <a:pt x="11478848" y="739666"/>
                </a:lnTo>
                <a:cubicBezTo>
                  <a:pt x="11478775" y="738973"/>
                  <a:pt x="11478592" y="738462"/>
                  <a:pt x="11478300" y="738170"/>
                </a:cubicBezTo>
                <a:cubicBezTo>
                  <a:pt x="11478008" y="737878"/>
                  <a:pt x="11477497" y="737732"/>
                  <a:pt x="11476804" y="737732"/>
                </a:cubicBezTo>
                <a:lnTo>
                  <a:pt x="11473592" y="737732"/>
                </a:lnTo>
                <a:lnTo>
                  <a:pt x="11473592" y="800145"/>
                </a:lnTo>
                <a:lnTo>
                  <a:pt x="11479614" y="800145"/>
                </a:lnTo>
                <a:lnTo>
                  <a:pt x="11479614" y="759741"/>
                </a:lnTo>
                <a:cubicBezTo>
                  <a:pt x="11480527" y="756930"/>
                  <a:pt x="11481549" y="754448"/>
                  <a:pt x="11482644" y="752295"/>
                </a:cubicBezTo>
                <a:cubicBezTo>
                  <a:pt x="11483775" y="750141"/>
                  <a:pt x="11485053" y="748317"/>
                  <a:pt x="11486549" y="746857"/>
                </a:cubicBezTo>
                <a:cubicBezTo>
                  <a:pt x="11488009" y="745397"/>
                  <a:pt x="11489688" y="744302"/>
                  <a:pt x="11491549" y="743572"/>
                </a:cubicBezTo>
                <a:cubicBezTo>
                  <a:pt x="11493411" y="742842"/>
                  <a:pt x="11495564" y="742477"/>
                  <a:pt x="11497973" y="742477"/>
                </a:cubicBezTo>
                <a:cubicBezTo>
                  <a:pt x="11499652" y="742477"/>
                  <a:pt x="11501002" y="742623"/>
                  <a:pt x="11502024" y="742915"/>
                </a:cubicBezTo>
                <a:cubicBezTo>
                  <a:pt x="11503046" y="743207"/>
                  <a:pt x="11503813" y="743353"/>
                  <a:pt x="11504324" y="743353"/>
                </a:cubicBezTo>
                <a:cubicBezTo>
                  <a:pt x="11504908" y="743353"/>
                  <a:pt x="11505309" y="742988"/>
                  <a:pt x="11505528" y="742331"/>
                </a:cubicBezTo>
                <a:lnTo>
                  <a:pt x="11506039" y="738206"/>
                </a:lnTo>
                <a:cubicBezTo>
                  <a:pt x="11505090" y="737586"/>
                  <a:pt x="11503959" y="737184"/>
                  <a:pt x="11502718" y="736965"/>
                </a:cubicBezTo>
                <a:cubicBezTo>
                  <a:pt x="11501440" y="736747"/>
                  <a:pt x="11500163" y="736637"/>
                  <a:pt x="11498886" y="736637"/>
                </a:cubicBezTo>
                <a:close/>
                <a:moveTo>
                  <a:pt x="11230110" y="736601"/>
                </a:moveTo>
                <a:cubicBezTo>
                  <a:pt x="11225548" y="736601"/>
                  <a:pt x="11221496" y="737440"/>
                  <a:pt x="11217883" y="739119"/>
                </a:cubicBezTo>
                <a:cubicBezTo>
                  <a:pt x="11214270" y="740798"/>
                  <a:pt x="11210839" y="743280"/>
                  <a:pt x="11207590" y="746529"/>
                </a:cubicBezTo>
                <a:lnTo>
                  <a:pt x="11208649" y="748354"/>
                </a:lnTo>
                <a:cubicBezTo>
                  <a:pt x="11208868" y="748682"/>
                  <a:pt x="11209123" y="748937"/>
                  <a:pt x="11209415" y="749157"/>
                </a:cubicBezTo>
                <a:cubicBezTo>
                  <a:pt x="11209707" y="749375"/>
                  <a:pt x="11210072" y="749485"/>
                  <a:pt x="11210547" y="749485"/>
                </a:cubicBezTo>
                <a:cubicBezTo>
                  <a:pt x="11211204" y="749485"/>
                  <a:pt x="11211970" y="749083"/>
                  <a:pt x="11212883" y="748244"/>
                </a:cubicBezTo>
                <a:cubicBezTo>
                  <a:pt x="11213795" y="747405"/>
                  <a:pt x="11215000" y="746492"/>
                  <a:pt x="11216460" y="745470"/>
                </a:cubicBezTo>
                <a:cubicBezTo>
                  <a:pt x="11217919" y="744448"/>
                  <a:pt x="11219708" y="743536"/>
                  <a:pt x="11221825" y="742696"/>
                </a:cubicBezTo>
                <a:cubicBezTo>
                  <a:pt x="11223942" y="741857"/>
                  <a:pt x="11226533" y="741455"/>
                  <a:pt x="11229526" y="741455"/>
                </a:cubicBezTo>
                <a:cubicBezTo>
                  <a:pt x="11234417" y="741455"/>
                  <a:pt x="11238103" y="743025"/>
                  <a:pt x="11240585" y="746127"/>
                </a:cubicBezTo>
                <a:cubicBezTo>
                  <a:pt x="11243067" y="749229"/>
                  <a:pt x="11244308" y="753682"/>
                  <a:pt x="11244308" y="759449"/>
                </a:cubicBezTo>
                <a:lnTo>
                  <a:pt x="11244308" y="765982"/>
                </a:lnTo>
                <a:cubicBezTo>
                  <a:pt x="11237227" y="766128"/>
                  <a:pt x="11231168" y="766712"/>
                  <a:pt x="11226132" y="767734"/>
                </a:cubicBezTo>
                <a:cubicBezTo>
                  <a:pt x="11221095" y="768756"/>
                  <a:pt x="11216971" y="770070"/>
                  <a:pt x="11213759" y="771749"/>
                </a:cubicBezTo>
                <a:cubicBezTo>
                  <a:pt x="11210547" y="773428"/>
                  <a:pt x="11208174" y="775399"/>
                  <a:pt x="11206678" y="777662"/>
                </a:cubicBezTo>
                <a:cubicBezTo>
                  <a:pt x="11205181" y="779925"/>
                  <a:pt x="11204415" y="782370"/>
                  <a:pt x="11204415" y="784998"/>
                </a:cubicBezTo>
                <a:cubicBezTo>
                  <a:pt x="11204415" y="787845"/>
                  <a:pt x="11204889" y="790254"/>
                  <a:pt x="11205838" y="792298"/>
                </a:cubicBezTo>
                <a:cubicBezTo>
                  <a:pt x="11206787" y="794342"/>
                  <a:pt x="11208028" y="796021"/>
                  <a:pt x="11209598" y="797298"/>
                </a:cubicBezTo>
                <a:cubicBezTo>
                  <a:pt x="11211167" y="798576"/>
                  <a:pt x="11212956" y="799561"/>
                  <a:pt x="11214963" y="800181"/>
                </a:cubicBezTo>
                <a:cubicBezTo>
                  <a:pt x="11216971" y="800802"/>
                  <a:pt x="11219051" y="801130"/>
                  <a:pt x="11221168" y="801130"/>
                </a:cubicBezTo>
                <a:cubicBezTo>
                  <a:pt x="11223686" y="801130"/>
                  <a:pt x="11226059" y="800838"/>
                  <a:pt x="11228176" y="800364"/>
                </a:cubicBezTo>
                <a:cubicBezTo>
                  <a:pt x="11230292" y="799890"/>
                  <a:pt x="11232300" y="799160"/>
                  <a:pt x="11234125" y="798247"/>
                </a:cubicBezTo>
                <a:cubicBezTo>
                  <a:pt x="11235950" y="797335"/>
                  <a:pt x="11237738" y="796203"/>
                  <a:pt x="11239417" y="794853"/>
                </a:cubicBezTo>
                <a:cubicBezTo>
                  <a:pt x="11241096" y="793502"/>
                  <a:pt x="11242811" y="792006"/>
                  <a:pt x="11244527" y="790327"/>
                </a:cubicBezTo>
                <a:lnTo>
                  <a:pt x="11245403" y="798357"/>
                </a:lnTo>
                <a:cubicBezTo>
                  <a:pt x="11245695" y="799525"/>
                  <a:pt x="11246498" y="800109"/>
                  <a:pt x="11247739" y="800109"/>
                </a:cubicBezTo>
                <a:lnTo>
                  <a:pt x="11250111" y="800109"/>
                </a:lnTo>
                <a:lnTo>
                  <a:pt x="11250111" y="759449"/>
                </a:lnTo>
                <a:cubicBezTo>
                  <a:pt x="11250111" y="755982"/>
                  <a:pt x="11249710" y="752806"/>
                  <a:pt x="11248870" y="749996"/>
                </a:cubicBezTo>
                <a:cubicBezTo>
                  <a:pt x="11248031" y="747149"/>
                  <a:pt x="11246790" y="744740"/>
                  <a:pt x="11245147" y="742769"/>
                </a:cubicBezTo>
                <a:cubicBezTo>
                  <a:pt x="11243505" y="740798"/>
                  <a:pt x="11241425" y="739265"/>
                  <a:pt x="11238906" y="738207"/>
                </a:cubicBezTo>
                <a:cubicBezTo>
                  <a:pt x="11236388" y="737148"/>
                  <a:pt x="11233468" y="736601"/>
                  <a:pt x="11230110" y="736601"/>
                </a:cubicBezTo>
                <a:close/>
                <a:moveTo>
                  <a:pt x="11018017" y="736601"/>
                </a:moveTo>
                <a:cubicBezTo>
                  <a:pt x="11013455" y="736601"/>
                  <a:pt x="11009403" y="737440"/>
                  <a:pt x="11005790" y="739119"/>
                </a:cubicBezTo>
                <a:cubicBezTo>
                  <a:pt x="11002177" y="740798"/>
                  <a:pt x="10998746" y="743280"/>
                  <a:pt x="10995497" y="746529"/>
                </a:cubicBezTo>
                <a:lnTo>
                  <a:pt x="10996556" y="748354"/>
                </a:lnTo>
                <a:cubicBezTo>
                  <a:pt x="10996775" y="748682"/>
                  <a:pt x="10997030" y="748937"/>
                  <a:pt x="10997322" y="749157"/>
                </a:cubicBezTo>
                <a:cubicBezTo>
                  <a:pt x="10997614" y="749375"/>
                  <a:pt x="10997979" y="749485"/>
                  <a:pt x="10998454" y="749485"/>
                </a:cubicBezTo>
                <a:cubicBezTo>
                  <a:pt x="10999111" y="749485"/>
                  <a:pt x="10999877" y="749083"/>
                  <a:pt x="11000790" y="748244"/>
                </a:cubicBezTo>
                <a:cubicBezTo>
                  <a:pt x="11001702" y="747405"/>
                  <a:pt x="11002907" y="746492"/>
                  <a:pt x="11004367" y="745470"/>
                </a:cubicBezTo>
                <a:cubicBezTo>
                  <a:pt x="11005826" y="744448"/>
                  <a:pt x="11007615" y="743536"/>
                  <a:pt x="11009732" y="742696"/>
                </a:cubicBezTo>
                <a:cubicBezTo>
                  <a:pt x="11011849" y="741857"/>
                  <a:pt x="11014440" y="741455"/>
                  <a:pt x="11017433" y="741455"/>
                </a:cubicBezTo>
                <a:cubicBezTo>
                  <a:pt x="11022324" y="741455"/>
                  <a:pt x="11026010" y="743025"/>
                  <a:pt x="11028492" y="746127"/>
                </a:cubicBezTo>
                <a:cubicBezTo>
                  <a:pt x="11030974" y="749229"/>
                  <a:pt x="11032215" y="753682"/>
                  <a:pt x="11032215" y="759449"/>
                </a:cubicBezTo>
                <a:lnTo>
                  <a:pt x="11032215" y="765982"/>
                </a:lnTo>
                <a:cubicBezTo>
                  <a:pt x="11025134" y="766128"/>
                  <a:pt x="11019075" y="766712"/>
                  <a:pt x="11014039" y="767734"/>
                </a:cubicBezTo>
                <a:cubicBezTo>
                  <a:pt x="11009002" y="768756"/>
                  <a:pt x="11004878" y="770070"/>
                  <a:pt x="11001666" y="771749"/>
                </a:cubicBezTo>
                <a:cubicBezTo>
                  <a:pt x="10998454" y="773428"/>
                  <a:pt x="10996081" y="775399"/>
                  <a:pt x="10994585" y="777662"/>
                </a:cubicBezTo>
                <a:cubicBezTo>
                  <a:pt x="10993088" y="779925"/>
                  <a:pt x="10992322" y="782370"/>
                  <a:pt x="10992322" y="784998"/>
                </a:cubicBezTo>
                <a:cubicBezTo>
                  <a:pt x="10992322" y="787845"/>
                  <a:pt x="10992796" y="790254"/>
                  <a:pt x="10993745" y="792298"/>
                </a:cubicBezTo>
                <a:cubicBezTo>
                  <a:pt x="10994694" y="794342"/>
                  <a:pt x="10995935" y="796021"/>
                  <a:pt x="10997505" y="797298"/>
                </a:cubicBezTo>
                <a:cubicBezTo>
                  <a:pt x="10999074" y="798576"/>
                  <a:pt x="11000863" y="799561"/>
                  <a:pt x="11002870" y="800181"/>
                </a:cubicBezTo>
                <a:cubicBezTo>
                  <a:pt x="11004878" y="800802"/>
                  <a:pt x="11006958" y="801130"/>
                  <a:pt x="11009075" y="801130"/>
                </a:cubicBezTo>
                <a:cubicBezTo>
                  <a:pt x="11011593" y="801130"/>
                  <a:pt x="11013966" y="800838"/>
                  <a:pt x="11016083" y="800364"/>
                </a:cubicBezTo>
                <a:cubicBezTo>
                  <a:pt x="11018199" y="799890"/>
                  <a:pt x="11020207" y="799160"/>
                  <a:pt x="11022032" y="798247"/>
                </a:cubicBezTo>
                <a:cubicBezTo>
                  <a:pt x="11023857" y="797335"/>
                  <a:pt x="11025645" y="796203"/>
                  <a:pt x="11027324" y="794853"/>
                </a:cubicBezTo>
                <a:cubicBezTo>
                  <a:pt x="11029003" y="793502"/>
                  <a:pt x="11030718" y="792006"/>
                  <a:pt x="11032434" y="790327"/>
                </a:cubicBezTo>
                <a:lnTo>
                  <a:pt x="11033310" y="798357"/>
                </a:lnTo>
                <a:cubicBezTo>
                  <a:pt x="11033602" y="799525"/>
                  <a:pt x="11034405" y="800109"/>
                  <a:pt x="11035646" y="800109"/>
                </a:cubicBezTo>
                <a:lnTo>
                  <a:pt x="11038018" y="800109"/>
                </a:lnTo>
                <a:lnTo>
                  <a:pt x="11038018" y="759449"/>
                </a:lnTo>
                <a:cubicBezTo>
                  <a:pt x="11038018" y="755982"/>
                  <a:pt x="11037617" y="752806"/>
                  <a:pt x="11036777" y="749996"/>
                </a:cubicBezTo>
                <a:cubicBezTo>
                  <a:pt x="11035938" y="747149"/>
                  <a:pt x="11034697" y="744740"/>
                  <a:pt x="11033054" y="742769"/>
                </a:cubicBezTo>
                <a:cubicBezTo>
                  <a:pt x="11031412" y="740798"/>
                  <a:pt x="11029332" y="739265"/>
                  <a:pt x="11026813" y="738207"/>
                </a:cubicBezTo>
                <a:cubicBezTo>
                  <a:pt x="11024295" y="737148"/>
                  <a:pt x="11021375" y="736601"/>
                  <a:pt x="11018017" y="736601"/>
                </a:cubicBezTo>
                <a:close/>
                <a:moveTo>
                  <a:pt x="11832117" y="734703"/>
                </a:moveTo>
                <a:cubicBezTo>
                  <a:pt x="11830219" y="734703"/>
                  <a:pt x="11828430" y="734922"/>
                  <a:pt x="11826824" y="735360"/>
                </a:cubicBezTo>
                <a:cubicBezTo>
                  <a:pt x="11825219" y="735798"/>
                  <a:pt x="11823686" y="736382"/>
                  <a:pt x="11822299" y="737148"/>
                </a:cubicBezTo>
                <a:cubicBezTo>
                  <a:pt x="11820912" y="737915"/>
                  <a:pt x="11819598" y="738791"/>
                  <a:pt x="11818357" y="739849"/>
                </a:cubicBezTo>
                <a:cubicBezTo>
                  <a:pt x="11817116" y="740908"/>
                  <a:pt x="11815948" y="742076"/>
                  <a:pt x="11814816" y="743317"/>
                </a:cubicBezTo>
                <a:lnTo>
                  <a:pt x="11813794" y="738535"/>
                </a:lnTo>
                <a:cubicBezTo>
                  <a:pt x="11813174" y="736674"/>
                  <a:pt x="11811860" y="735725"/>
                  <a:pt x="11809853" y="735725"/>
                </a:cubicBezTo>
                <a:lnTo>
                  <a:pt x="11800363" y="735725"/>
                </a:lnTo>
                <a:lnTo>
                  <a:pt x="11800363" y="800072"/>
                </a:lnTo>
                <a:lnTo>
                  <a:pt x="11800363" y="800181"/>
                </a:lnTo>
                <a:lnTo>
                  <a:pt x="11815911" y="800181"/>
                </a:lnTo>
                <a:lnTo>
                  <a:pt x="11815911" y="753062"/>
                </a:lnTo>
                <a:cubicBezTo>
                  <a:pt x="11817590" y="751127"/>
                  <a:pt x="11819415" y="749594"/>
                  <a:pt x="11821350" y="748499"/>
                </a:cubicBezTo>
                <a:cubicBezTo>
                  <a:pt x="11823321" y="747368"/>
                  <a:pt x="11825401" y="746821"/>
                  <a:pt x="11827664" y="746821"/>
                </a:cubicBezTo>
                <a:cubicBezTo>
                  <a:pt x="11831022" y="746821"/>
                  <a:pt x="11833540" y="747806"/>
                  <a:pt x="11835292" y="749777"/>
                </a:cubicBezTo>
                <a:cubicBezTo>
                  <a:pt x="11837008" y="751748"/>
                  <a:pt x="11837884" y="754887"/>
                  <a:pt x="11837884" y="759194"/>
                </a:cubicBezTo>
                <a:lnTo>
                  <a:pt x="11837884" y="800145"/>
                </a:lnTo>
                <a:lnTo>
                  <a:pt x="11853432" y="800145"/>
                </a:lnTo>
                <a:lnTo>
                  <a:pt x="11853432" y="759194"/>
                </a:lnTo>
                <a:cubicBezTo>
                  <a:pt x="11853432" y="757186"/>
                  <a:pt x="11853724" y="755398"/>
                  <a:pt x="11854308" y="753865"/>
                </a:cubicBezTo>
                <a:cubicBezTo>
                  <a:pt x="11854892" y="752295"/>
                  <a:pt x="11855695" y="751018"/>
                  <a:pt x="11856717" y="749996"/>
                </a:cubicBezTo>
                <a:cubicBezTo>
                  <a:pt x="11857739" y="748974"/>
                  <a:pt x="11858943" y="748207"/>
                  <a:pt x="11860294" y="747660"/>
                </a:cubicBezTo>
                <a:cubicBezTo>
                  <a:pt x="11861644" y="747113"/>
                  <a:pt x="11863104" y="746857"/>
                  <a:pt x="11864710" y="746857"/>
                </a:cubicBezTo>
                <a:cubicBezTo>
                  <a:pt x="11868214" y="746857"/>
                  <a:pt x="11870842" y="747879"/>
                  <a:pt x="11872630" y="749959"/>
                </a:cubicBezTo>
                <a:cubicBezTo>
                  <a:pt x="11874419" y="752003"/>
                  <a:pt x="11875331" y="755106"/>
                  <a:pt x="11875331" y="759194"/>
                </a:cubicBezTo>
                <a:lnTo>
                  <a:pt x="11875331" y="800145"/>
                </a:lnTo>
                <a:lnTo>
                  <a:pt x="11890806" y="800145"/>
                </a:lnTo>
                <a:lnTo>
                  <a:pt x="11890806" y="759194"/>
                </a:lnTo>
                <a:cubicBezTo>
                  <a:pt x="11890806" y="755288"/>
                  <a:pt x="11890332" y="751821"/>
                  <a:pt x="11889346" y="748828"/>
                </a:cubicBezTo>
                <a:cubicBezTo>
                  <a:pt x="11888361" y="745799"/>
                  <a:pt x="11886938" y="743244"/>
                  <a:pt x="11885040" y="741163"/>
                </a:cubicBezTo>
                <a:cubicBezTo>
                  <a:pt x="11883142" y="739046"/>
                  <a:pt x="11880842" y="737477"/>
                  <a:pt x="11878068" y="736382"/>
                </a:cubicBezTo>
                <a:cubicBezTo>
                  <a:pt x="11875295" y="735287"/>
                  <a:pt x="11872119" y="734740"/>
                  <a:pt x="11868579" y="734740"/>
                </a:cubicBezTo>
                <a:cubicBezTo>
                  <a:pt x="11866498" y="734740"/>
                  <a:pt x="11864491" y="734959"/>
                  <a:pt x="11862447" y="735433"/>
                </a:cubicBezTo>
                <a:cubicBezTo>
                  <a:pt x="11860440" y="735871"/>
                  <a:pt x="11858505" y="736601"/>
                  <a:pt x="11856717" y="737550"/>
                </a:cubicBezTo>
                <a:cubicBezTo>
                  <a:pt x="11854892" y="738499"/>
                  <a:pt x="11853249" y="739740"/>
                  <a:pt x="11851753" y="741273"/>
                </a:cubicBezTo>
                <a:cubicBezTo>
                  <a:pt x="11850257" y="742769"/>
                  <a:pt x="11849016" y="744631"/>
                  <a:pt x="11847994" y="746748"/>
                </a:cubicBezTo>
                <a:cubicBezTo>
                  <a:pt x="11846680" y="743098"/>
                  <a:pt x="11844745" y="740178"/>
                  <a:pt x="11842117" y="737988"/>
                </a:cubicBezTo>
                <a:cubicBezTo>
                  <a:pt x="11839490" y="735798"/>
                  <a:pt x="11836168" y="734703"/>
                  <a:pt x="11832117" y="734703"/>
                </a:cubicBezTo>
                <a:close/>
                <a:moveTo>
                  <a:pt x="11727038" y="734703"/>
                </a:moveTo>
                <a:cubicBezTo>
                  <a:pt x="11725140" y="734703"/>
                  <a:pt x="11723351" y="734922"/>
                  <a:pt x="11721745" y="735360"/>
                </a:cubicBezTo>
                <a:cubicBezTo>
                  <a:pt x="11720140" y="735798"/>
                  <a:pt x="11718607" y="736382"/>
                  <a:pt x="11717220" y="737148"/>
                </a:cubicBezTo>
                <a:cubicBezTo>
                  <a:pt x="11715833" y="737915"/>
                  <a:pt x="11714519" y="738791"/>
                  <a:pt x="11713278" y="739849"/>
                </a:cubicBezTo>
                <a:cubicBezTo>
                  <a:pt x="11712037" y="740908"/>
                  <a:pt x="11710869" y="742076"/>
                  <a:pt x="11709737" y="743317"/>
                </a:cubicBezTo>
                <a:lnTo>
                  <a:pt x="11708715" y="738535"/>
                </a:lnTo>
                <a:cubicBezTo>
                  <a:pt x="11708095" y="736674"/>
                  <a:pt x="11706781" y="735725"/>
                  <a:pt x="11704774" y="735725"/>
                </a:cubicBezTo>
                <a:lnTo>
                  <a:pt x="11695284" y="735725"/>
                </a:lnTo>
                <a:lnTo>
                  <a:pt x="11695284" y="800072"/>
                </a:lnTo>
                <a:lnTo>
                  <a:pt x="11695284" y="800181"/>
                </a:lnTo>
                <a:lnTo>
                  <a:pt x="11710832" y="800181"/>
                </a:lnTo>
                <a:lnTo>
                  <a:pt x="11710832" y="753062"/>
                </a:lnTo>
                <a:cubicBezTo>
                  <a:pt x="11712511" y="751127"/>
                  <a:pt x="11714336" y="749594"/>
                  <a:pt x="11716271" y="748499"/>
                </a:cubicBezTo>
                <a:cubicBezTo>
                  <a:pt x="11718242" y="747368"/>
                  <a:pt x="11720322" y="746821"/>
                  <a:pt x="11722585" y="746821"/>
                </a:cubicBezTo>
                <a:cubicBezTo>
                  <a:pt x="11725943" y="746821"/>
                  <a:pt x="11728461" y="747806"/>
                  <a:pt x="11730213" y="749777"/>
                </a:cubicBezTo>
                <a:cubicBezTo>
                  <a:pt x="11731929" y="751748"/>
                  <a:pt x="11732805" y="754887"/>
                  <a:pt x="11732805" y="759194"/>
                </a:cubicBezTo>
                <a:lnTo>
                  <a:pt x="11732805" y="800145"/>
                </a:lnTo>
                <a:lnTo>
                  <a:pt x="11748353" y="800145"/>
                </a:lnTo>
                <a:lnTo>
                  <a:pt x="11748353" y="759194"/>
                </a:lnTo>
                <a:cubicBezTo>
                  <a:pt x="11748353" y="757186"/>
                  <a:pt x="11748645" y="755398"/>
                  <a:pt x="11749229" y="753865"/>
                </a:cubicBezTo>
                <a:cubicBezTo>
                  <a:pt x="11749813" y="752295"/>
                  <a:pt x="11750616" y="751018"/>
                  <a:pt x="11751638" y="749996"/>
                </a:cubicBezTo>
                <a:cubicBezTo>
                  <a:pt x="11752660" y="748974"/>
                  <a:pt x="11753864" y="748207"/>
                  <a:pt x="11755215" y="747660"/>
                </a:cubicBezTo>
                <a:cubicBezTo>
                  <a:pt x="11756565" y="747113"/>
                  <a:pt x="11758025" y="746857"/>
                  <a:pt x="11759631" y="746857"/>
                </a:cubicBezTo>
                <a:cubicBezTo>
                  <a:pt x="11763135" y="746857"/>
                  <a:pt x="11765763" y="747879"/>
                  <a:pt x="11767551" y="749959"/>
                </a:cubicBezTo>
                <a:cubicBezTo>
                  <a:pt x="11769340" y="752003"/>
                  <a:pt x="11770252" y="755106"/>
                  <a:pt x="11770252" y="759194"/>
                </a:cubicBezTo>
                <a:lnTo>
                  <a:pt x="11770252" y="800145"/>
                </a:lnTo>
                <a:lnTo>
                  <a:pt x="11785727" y="800145"/>
                </a:lnTo>
                <a:lnTo>
                  <a:pt x="11785727" y="759194"/>
                </a:lnTo>
                <a:cubicBezTo>
                  <a:pt x="11785727" y="755288"/>
                  <a:pt x="11785253" y="751821"/>
                  <a:pt x="11784267" y="748828"/>
                </a:cubicBezTo>
                <a:cubicBezTo>
                  <a:pt x="11783282" y="745799"/>
                  <a:pt x="11781859" y="743244"/>
                  <a:pt x="11779961" y="741163"/>
                </a:cubicBezTo>
                <a:cubicBezTo>
                  <a:pt x="11778063" y="739046"/>
                  <a:pt x="11775763" y="737477"/>
                  <a:pt x="11772989" y="736382"/>
                </a:cubicBezTo>
                <a:cubicBezTo>
                  <a:pt x="11770216" y="735287"/>
                  <a:pt x="11767040" y="734740"/>
                  <a:pt x="11763500" y="734740"/>
                </a:cubicBezTo>
                <a:cubicBezTo>
                  <a:pt x="11761419" y="734740"/>
                  <a:pt x="11759412" y="734959"/>
                  <a:pt x="11757368" y="735433"/>
                </a:cubicBezTo>
                <a:cubicBezTo>
                  <a:pt x="11755361" y="735871"/>
                  <a:pt x="11753426" y="736601"/>
                  <a:pt x="11751638" y="737550"/>
                </a:cubicBezTo>
                <a:cubicBezTo>
                  <a:pt x="11749813" y="738499"/>
                  <a:pt x="11748170" y="739740"/>
                  <a:pt x="11746674" y="741273"/>
                </a:cubicBezTo>
                <a:cubicBezTo>
                  <a:pt x="11745178" y="742769"/>
                  <a:pt x="11743937" y="744631"/>
                  <a:pt x="11742915" y="746748"/>
                </a:cubicBezTo>
                <a:cubicBezTo>
                  <a:pt x="11741601" y="743098"/>
                  <a:pt x="11739666" y="740178"/>
                  <a:pt x="11737038" y="737988"/>
                </a:cubicBezTo>
                <a:cubicBezTo>
                  <a:pt x="11734410" y="735798"/>
                  <a:pt x="11731089" y="734703"/>
                  <a:pt x="11727038" y="734703"/>
                </a:cubicBezTo>
                <a:close/>
                <a:moveTo>
                  <a:pt x="11656814" y="734557"/>
                </a:moveTo>
                <a:cubicBezTo>
                  <a:pt x="11646412" y="734557"/>
                  <a:pt x="11637507" y="737915"/>
                  <a:pt x="11630097" y="744704"/>
                </a:cubicBezTo>
                <a:lnTo>
                  <a:pt x="11632725" y="749740"/>
                </a:lnTo>
                <a:cubicBezTo>
                  <a:pt x="11633200" y="750470"/>
                  <a:pt x="11633784" y="751164"/>
                  <a:pt x="11634550" y="751711"/>
                </a:cubicBezTo>
                <a:cubicBezTo>
                  <a:pt x="11635317" y="752259"/>
                  <a:pt x="11636229" y="752551"/>
                  <a:pt x="11637324" y="752551"/>
                </a:cubicBezTo>
                <a:cubicBezTo>
                  <a:pt x="11638602" y="752551"/>
                  <a:pt x="11639733" y="752259"/>
                  <a:pt x="11640755" y="751675"/>
                </a:cubicBezTo>
                <a:cubicBezTo>
                  <a:pt x="11641777" y="751091"/>
                  <a:pt x="11642945" y="750434"/>
                  <a:pt x="11644186" y="749704"/>
                </a:cubicBezTo>
                <a:cubicBezTo>
                  <a:pt x="11645427" y="748974"/>
                  <a:pt x="11646887" y="748317"/>
                  <a:pt x="11648529" y="747733"/>
                </a:cubicBezTo>
                <a:cubicBezTo>
                  <a:pt x="11650172" y="747149"/>
                  <a:pt x="11652252" y="746857"/>
                  <a:pt x="11654770" y="746857"/>
                </a:cubicBezTo>
                <a:cubicBezTo>
                  <a:pt x="11658238" y="746857"/>
                  <a:pt x="11660902" y="747879"/>
                  <a:pt x="11662727" y="749959"/>
                </a:cubicBezTo>
                <a:cubicBezTo>
                  <a:pt x="11664588" y="752040"/>
                  <a:pt x="11665501" y="755215"/>
                  <a:pt x="11665501" y="759522"/>
                </a:cubicBezTo>
                <a:lnTo>
                  <a:pt x="11665501" y="763281"/>
                </a:lnTo>
                <a:cubicBezTo>
                  <a:pt x="11660610" y="763391"/>
                  <a:pt x="11656267" y="763756"/>
                  <a:pt x="11652471" y="764376"/>
                </a:cubicBezTo>
                <a:cubicBezTo>
                  <a:pt x="11648675" y="764960"/>
                  <a:pt x="11645317" y="765763"/>
                  <a:pt x="11642470" y="766712"/>
                </a:cubicBezTo>
                <a:cubicBezTo>
                  <a:pt x="11639623" y="767698"/>
                  <a:pt x="11637215" y="768829"/>
                  <a:pt x="11635244" y="770107"/>
                </a:cubicBezTo>
                <a:cubicBezTo>
                  <a:pt x="11633309" y="771384"/>
                  <a:pt x="11631703" y="772771"/>
                  <a:pt x="11630462" y="774231"/>
                </a:cubicBezTo>
                <a:cubicBezTo>
                  <a:pt x="11629221" y="775691"/>
                  <a:pt x="11628345" y="777224"/>
                  <a:pt x="11627798" y="778830"/>
                </a:cubicBezTo>
                <a:cubicBezTo>
                  <a:pt x="11627250" y="780436"/>
                  <a:pt x="11626995" y="782042"/>
                  <a:pt x="11626995" y="783684"/>
                </a:cubicBezTo>
                <a:cubicBezTo>
                  <a:pt x="11626995" y="786567"/>
                  <a:pt x="11627469" y="789086"/>
                  <a:pt x="11628382" y="791276"/>
                </a:cubicBezTo>
                <a:cubicBezTo>
                  <a:pt x="11629331" y="793466"/>
                  <a:pt x="11630608" y="795291"/>
                  <a:pt x="11632287" y="796751"/>
                </a:cubicBezTo>
                <a:cubicBezTo>
                  <a:pt x="11633966" y="798210"/>
                  <a:pt x="11635937" y="799305"/>
                  <a:pt x="11638237" y="800035"/>
                </a:cubicBezTo>
                <a:cubicBezTo>
                  <a:pt x="11640536" y="800765"/>
                  <a:pt x="11643054" y="801130"/>
                  <a:pt x="11645755" y="801130"/>
                </a:cubicBezTo>
                <a:cubicBezTo>
                  <a:pt x="11648055" y="801130"/>
                  <a:pt x="11650172" y="800948"/>
                  <a:pt x="11652070" y="800546"/>
                </a:cubicBezTo>
                <a:cubicBezTo>
                  <a:pt x="11653967" y="800145"/>
                  <a:pt x="11655756" y="799597"/>
                  <a:pt x="11657435" y="798831"/>
                </a:cubicBezTo>
                <a:cubicBezTo>
                  <a:pt x="11659077" y="798101"/>
                  <a:pt x="11660720" y="797152"/>
                  <a:pt x="11662253" y="796057"/>
                </a:cubicBezTo>
                <a:cubicBezTo>
                  <a:pt x="11663822" y="794926"/>
                  <a:pt x="11665392" y="793648"/>
                  <a:pt x="11667034" y="792188"/>
                </a:cubicBezTo>
                <a:lnTo>
                  <a:pt x="11668421" y="796824"/>
                </a:lnTo>
                <a:cubicBezTo>
                  <a:pt x="11668895" y="798174"/>
                  <a:pt x="11669516" y="799050"/>
                  <a:pt x="11670319" y="799488"/>
                </a:cubicBezTo>
                <a:cubicBezTo>
                  <a:pt x="11671122" y="799926"/>
                  <a:pt x="11672253" y="800145"/>
                  <a:pt x="11673713" y="800145"/>
                </a:cubicBezTo>
                <a:lnTo>
                  <a:pt x="11680721" y="800145"/>
                </a:lnTo>
                <a:lnTo>
                  <a:pt x="11680721" y="759485"/>
                </a:lnTo>
                <a:cubicBezTo>
                  <a:pt x="11680721" y="755836"/>
                  <a:pt x="11680173" y="752514"/>
                  <a:pt x="11679115" y="749448"/>
                </a:cubicBezTo>
                <a:cubicBezTo>
                  <a:pt x="11678056" y="746383"/>
                  <a:pt x="11676487" y="743755"/>
                  <a:pt x="11674443" y="741565"/>
                </a:cubicBezTo>
                <a:cubicBezTo>
                  <a:pt x="11672399" y="739375"/>
                  <a:pt x="11669881" y="737659"/>
                  <a:pt x="11666924" y="736418"/>
                </a:cubicBezTo>
                <a:cubicBezTo>
                  <a:pt x="11663932" y="735177"/>
                  <a:pt x="11660574" y="734557"/>
                  <a:pt x="11656814" y="734557"/>
                </a:cubicBezTo>
                <a:close/>
                <a:moveTo>
                  <a:pt x="11525784" y="716089"/>
                </a:moveTo>
                <a:cubicBezTo>
                  <a:pt x="11524872" y="716089"/>
                  <a:pt x="11524105" y="716308"/>
                  <a:pt x="11523521" y="716782"/>
                </a:cubicBezTo>
                <a:cubicBezTo>
                  <a:pt x="11522937" y="717220"/>
                  <a:pt x="11522536" y="717877"/>
                  <a:pt x="11522317" y="718717"/>
                </a:cubicBezTo>
                <a:lnTo>
                  <a:pt x="11519069" y="736273"/>
                </a:lnTo>
                <a:lnTo>
                  <a:pt x="11508703" y="737952"/>
                </a:lnTo>
                <a:lnTo>
                  <a:pt x="11508703" y="744083"/>
                </a:lnTo>
                <a:cubicBezTo>
                  <a:pt x="11508703" y="745178"/>
                  <a:pt x="11508995" y="745981"/>
                  <a:pt x="11509579" y="746529"/>
                </a:cubicBezTo>
                <a:cubicBezTo>
                  <a:pt x="11510163" y="747076"/>
                  <a:pt x="11510856" y="747332"/>
                  <a:pt x="11511696" y="747332"/>
                </a:cubicBezTo>
                <a:lnTo>
                  <a:pt x="11518266" y="747332"/>
                </a:lnTo>
                <a:lnTo>
                  <a:pt x="11518266" y="783283"/>
                </a:lnTo>
                <a:cubicBezTo>
                  <a:pt x="11518266" y="788831"/>
                  <a:pt x="11519762" y="793210"/>
                  <a:pt x="11522755" y="796349"/>
                </a:cubicBezTo>
                <a:cubicBezTo>
                  <a:pt x="11525748" y="799525"/>
                  <a:pt x="11530018" y="801094"/>
                  <a:pt x="11535639" y="801094"/>
                </a:cubicBezTo>
                <a:cubicBezTo>
                  <a:pt x="11538778" y="801094"/>
                  <a:pt x="11541807" y="800620"/>
                  <a:pt x="11544764" y="799671"/>
                </a:cubicBezTo>
                <a:cubicBezTo>
                  <a:pt x="11547683" y="798722"/>
                  <a:pt x="11550275" y="797298"/>
                  <a:pt x="11552538" y="795400"/>
                </a:cubicBezTo>
                <a:lnTo>
                  <a:pt x="11547902" y="787882"/>
                </a:lnTo>
                <a:cubicBezTo>
                  <a:pt x="11547574" y="787444"/>
                  <a:pt x="11547245" y="787079"/>
                  <a:pt x="11546953" y="786860"/>
                </a:cubicBezTo>
                <a:cubicBezTo>
                  <a:pt x="11546661" y="786641"/>
                  <a:pt x="11546297" y="786531"/>
                  <a:pt x="11545822" y="786531"/>
                </a:cubicBezTo>
                <a:cubicBezTo>
                  <a:pt x="11545457" y="786531"/>
                  <a:pt x="11545056" y="786641"/>
                  <a:pt x="11544691" y="786860"/>
                </a:cubicBezTo>
                <a:cubicBezTo>
                  <a:pt x="11544326" y="787115"/>
                  <a:pt x="11543888" y="787334"/>
                  <a:pt x="11543413" y="787590"/>
                </a:cubicBezTo>
                <a:cubicBezTo>
                  <a:pt x="11542939" y="787845"/>
                  <a:pt x="11542391" y="788101"/>
                  <a:pt x="11541734" y="788320"/>
                </a:cubicBezTo>
                <a:cubicBezTo>
                  <a:pt x="11541077" y="788539"/>
                  <a:pt x="11540274" y="788648"/>
                  <a:pt x="11539325" y="788648"/>
                </a:cubicBezTo>
                <a:cubicBezTo>
                  <a:pt x="11537610" y="788648"/>
                  <a:pt x="11536259" y="788101"/>
                  <a:pt x="11535274" y="786969"/>
                </a:cubicBezTo>
                <a:cubicBezTo>
                  <a:pt x="11534288" y="785838"/>
                  <a:pt x="11533814" y="784268"/>
                  <a:pt x="11533814" y="782261"/>
                </a:cubicBezTo>
                <a:lnTo>
                  <a:pt x="11533814" y="747368"/>
                </a:lnTo>
                <a:lnTo>
                  <a:pt x="11551005" y="747368"/>
                </a:lnTo>
                <a:lnTo>
                  <a:pt x="11551005" y="736346"/>
                </a:lnTo>
                <a:lnTo>
                  <a:pt x="11533814" y="736346"/>
                </a:lnTo>
                <a:lnTo>
                  <a:pt x="11533814" y="716089"/>
                </a:lnTo>
                <a:close/>
                <a:moveTo>
                  <a:pt x="11381688" y="708826"/>
                </a:moveTo>
                <a:lnTo>
                  <a:pt x="11381688" y="745836"/>
                </a:lnTo>
                <a:cubicBezTo>
                  <a:pt x="11379389" y="742770"/>
                  <a:pt x="11376688" y="740470"/>
                  <a:pt x="11373585" y="738937"/>
                </a:cubicBezTo>
                <a:cubicBezTo>
                  <a:pt x="11370483" y="737368"/>
                  <a:pt x="11366833" y="736601"/>
                  <a:pt x="11362599" y="736601"/>
                </a:cubicBezTo>
                <a:cubicBezTo>
                  <a:pt x="11358183" y="736601"/>
                  <a:pt x="11354314" y="737441"/>
                  <a:pt x="11350956" y="739120"/>
                </a:cubicBezTo>
                <a:cubicBezTo>
                  <a:pt x="11347599" y="740799"/>
                  <a:pt x="11344752" y="743062"/>
                  <a:pt x="11342452" y="745982"/>
                </a:cubicBezTo>
                <a:cubicBezTo>
                  <a:pt x="11340116" y="748901"/>
                  <a:pt x="11338401" y="752296"/>
                  <a:pt x="11337196" y="756274"/>
                </a:cubicBezTo>
                <a:cubicBezTo>
                  <a:pt x="11335992" y="760252"/>
                  <a:pt x="11335408" y="764486"/>
                  <a:pt x="11335408" y="769049"/>
                </a:cubicBezTo>
                <a:cubicBezTo>
                  <a:pt x="11335408" y="779670"/>
                  <a:pt x="11337525" y="787663"/>
                  <a:pt x="11341795" y="792955"/>
                </a:cubicBezTo>
                <a:cubicBezTo>
                  <a:pt x="11346066" y="798247"/>
                  <a:pt x="11352051" y="800912"/>
                  <a:pt x="11359753" y="800912"/>
                </a:cubicBezTo>
                <a:cubicBezTo>
                  <a:pt x="11364351" y="800912"/>
                  <a:pt x="11368476" y="799817"/>
                  <a:pt x="11372162" y="797591"/>
                </a:cubicBezTo>
                <a:cubicBezTo>
                  <a:pt x="11375848" y="795364"/>
                  <a:pt x="11379060" y="792371"/>
                  <a:pt x="11381834" y="788612"/>
                </a:cubicBezTo>
                <a:lnTo>
                  <a:pt x="11382455" y="798466"/>
                </a:lnTo>
                <a:cubicBezTo>
                  <a:pt x="11382637" y="799561"/>
                  <a:pt x="11383258" y="800109"/>
                  <a:pt x="11384353" y="800109"/>
                </a:cubicBezTo>
                <a:lnTo>
                  <a:pt x="11387601" y="800109"/>
                </a:lnTo>
                <a:lnTo>
                  <a:pt x="11387601" y="708826"/>
                </a:lnTo>
                <a:close/>
                <a:moveTo>
                  <a:pt x="11058530" y="708826"/>
                </a:moveTo>
                <a:lnTo>
                  <a:pt x="11058530" y="800109"/>
                </a:lnTo>
                <a:lnTo>
                  <a:pt x="11064552" y="800109"/>
                </a:lnTo>
                <a:lnTo>
                  <a:pt x="11064552" y="708826"/>
                </a:lnTo>
                <a:close/>
                <a:moveTo>
                  <a:pt x="11560896" y="706855"/>
                </a:moveTo>
                <a:lnTo>
                  <a:pt x="11560896" y="800072"/>
                </a:lnTo>
                <a:lnTo>
                  <a:pt x="11576371" y="800072"/>
                </a:lnTo>
                <a:lnTo>
                  <a:pt x="11576371" y="753537"/>
                </a:lnTo>
                <a:cubicBezTo>
                  <a:pt x="11578452" y="751420"/>
                  <a:pt x="11580678" y="749777"/>
                  <a:pt x="11583014" y="748573"/>
                </a:cubicBezTo>
                <a:cubicBezTo>
                  <a:pt x="11585350" y="747368"/>
                  <a:pt x="11587868" y="746748"/>
                  <a:pt x="11590533" y="746748"/>
                </a:cubicBezTo>
                <a:cubicBezTo>
                  <a:pt x="11594219" y="746748"/>
                  <a:pt x="11596957" y="747843"/>
                  <a:pt x="11598745" y="749996"/>
                </a:cubicBezTo>
                <a:cubicBezTo>
                  <a:pt x="11600533" y="752150"/>
                  <a:pt x="11601446" y="755179"/>
                  <a:pt x="11601446" y="759121"/>
                </a:cubicBezTo>
                <a:lnTo>
                  <a:pt x="11601446" y="800072"/>
                </a:lnTo>
                <a:lnTo>
                  <a:pt x="11616921" y="800072"/>
                </a:lnTo>
                <a:lnTo>
                  <a:pt x="11616921" y="759121"/>
                </a:lnTo>
                <a:cubicBezTo>
                  <a:pt x="11616921" y="755508"/>
                  <a:pt x="11616447" y="752223"/>
                  <a:pt x="11615498" y="749230"/>
                </a:cubicBezTo>
                <a:cubicBezTo>
                  <a:pt x="11614585" y="746237"/>
                  <a:pt x="11613198" y="743682"/>
                  <a:pt x="11611373" y="741529"/>
                </a:cubicBezTo>
                <a:cubicBezTo>
                  <a:pt x="11609585" y="739375"/>
                  <a:pt x="11607286" y="737733"/>
                  <a:pt x="11604585" y="736528"/>
                </a:cubicBezTo>
                <a:cubicBezTo>
                  <a:pt x="11601884" y="735324"/>
                  <a:pt x="11598745" y="734740"/>
                  <a:pt x="11595241" y="734740"/>
                </a:cubicBezTo>
                <a:cubicBezTo>
                  <a:pt x="11591190" y="734740"/>
                  <a:pt x="11587649" y="735470"/>
                  <a:pt x="11584657" y="736930"/>
                </a:cubicBezTo>
                <a:cubicBezTo>
                  <a:pt x="11581627" y="738390"/>
                  <a:pt x="11578890" y="740288"/>
                  <a:pt x="11576371" y="742624"/>
                </a:cubicBezTo>
                <a:lnTo>
                  <a:pt x="11576371" y="706855"/>
                </a:lnTo>
                <a:close/>
                <a:moveTo>
                  <a:pt x="11321539" y="434247"/>
                </a:moveTo>
                <a:lnTo>
                  <a:pt x="11348438" y="434247"/>
                </a:lnTo>
                <a:lnTo>
                  <a:pt x="11348438" y="438846"/>
                </a:lnTo>
                <a:cubicBezTo>
                  <a:pt x="11348438" y="462825"/>
                  <a:pt x="11343548" y="481513"/>
                  <a:pt x="11333730" y="494871"/>
                </a:cubicBezTo>
                <a:cubicBezTo>
                  <a:pt x="11323911" y="508230"/>
                  <a:pt x="11310115" y="514909"/>
                  <a:pt x="11292340" y="514909"/>
                </a:cubicBezTo>
                <a:cubicBezTo>
                  <a:pt x="11280515" y="514909"/>
                  <a:pt x="11271171" y="511478"/>
                  <a:pt x="11264273" y="504616"/>
                </a:cubicBezTo>
                <a:cubicBezTo>
                  <a:pt x="11257375" y="497718"/>
                  <a:pt x="11253907" y="488484"/>
                  <a:pt x="11253907" y="476877"/>
                </a:cubicBezTo>
                <a:cubicBezTo>
                  <a:pt x="11253907" y="461292"/>
                  <a:pt x="11258907" y="450306"/>
                  <a:pt x="11268872" y="443883"/>
                </a:cubicBezTo>
                <a:cubicBezTo>
                  <a:pt x="11278836" y="437459"/>
                  <a:pt x="11296391" y="434247"/>
                  <a:pt x="11321539" y="434247"/>
                </a:cubicBezTo>
                <a:close/>
                <a:moveTo>
                  <a:pt x="11301684" y="291866"/>
                </a:moveTo>
                <a:cubicBezTo>
                  <a:pt x="11284566" y="291866"/>
                  <a:pt x="11268361" y="293289"/>
                  <a:pt x="11253068" y="296209"/>
                </a:cubicBezTo>
                <a:cubicBezTo>
                  <a:pt x="11237775" y="299129"/>
                  <a:pt x="11222701" y="303619"/>
                  <a:pt x="11207882" y="309750"/>
                </a:cubicBezTo>
                <a:lnTo>
                  <a:pt x="11207882" y="367053"/>
                </a:lnTo>
                <a:cubicBezTo>
                  <a:pt x="11224270" y="358147"/>
                  <a:pt x="11239965" y="351651"/>
                  <a:pt x="11255039" y="347599"/>
                </a:cubicBezTo>
                <a:cubicBezTo>
                  <a:pt x="11270113" y="343548"/>
                  <a:pt x="11285661" y="341504"/>
                  <a:pt x="11301720" y="341504"/>
                </a:cubicBezTo>
                <a:cubicBezTo>
                  <a:pt x="11317050" y="341504"/>
                  <a:pt x="11328693" y="344314"/>
                  <a:pt x="11336576" y="349899"/>
                </a:cubicBezTo>
                <a:cubicBezTo>
                  <a:pt x="11344497" y="355483"/>
                  <a:pt x="11348438" y="363695"/>
                  <a:pt x="11348438" y="374572"/>
                </a:cubicBezTo>
                <a:lnTo>
                  <a:pt x="11348438" y="385667"/>
                </a:lnTo>
                <a:lnTo>
                  <a:pt x="11301757" y="385667"/>
                </a:lnTo>
                <a:cubicBezTo>
                  <a:pt x="11261061" y="385667"/>
                  <a:pt x="11230986" y="392785"/>
                  <a:pt x="11211532" y="407128"/>
                </a:cubicBezTo>
                <a:cubicBezTo>
                  <a:pt x="11192079" y="421472"/>
                  <a:pt x="11182370" y="443627"/>
                  <a:pt x="11182370" y="473629"/>
                </a:cubicBezTo>
                <a:cubicBezTo>
                  <a:pt x="11182370" y="501368"/>
                  <a:pt x="11190509" y="522975"/>
                  <a:pt x="11206824" y="538414"/>
                </a:cubicBezTo>
                <a:cubicBezTo>
                  <a:pt x="11223139" y="553853"/>
                  <a:pt x="11245914" y="561590"/>
                  <a:pt x="11275149" y="561590"/>
                </a:cubicBezTo>
                <a:cubicBezTo>
                  <a:pt x="11290479" y="561590"/>
                  <a:pt x="11304494" y="558525"/>
                  <a:pt x="11317196" y="552393"/>
                </a:cubicBezTo>
                <a:cubicBezTo>
                  <a:pt x="11329897" y="546261"/>
                  <a:pt x="11340336" y="537538"/>
                  <a:pt x="11348438" y="526187"/>
                </a:cubicBezTo>
                <a:lnTo>
                  <a:pt x="11348438" y="555021"/>
                </a:lnTo>
                <a:lnTo>
                  <a:pt x="11415231" y="555021"/>
                </a:lnTo>
                <a:lnTo>
                  <a:pt x="11415231" y="408223"/>
                </a:lnTo>
                <a:cubicBezTo>
                  <a:pt x="11415231" y="364571"/>
                  <a:pt x="11406763" y="334277"/>
                  <a:pt x="11389791" y="317306"/>
                </a:cubicBezTo>
                <a:cubicBezTo>
                  <a:pt x="11372856" y="300334"/>
                  <a:pt x="11343475" y="291866"/>
                  <a:pt x="11301684" y="291866"/>
                </a:cubicBezTo>
                <a:close/>
                <a:moveTo>
                  <a:pt x="11492899" y="225110"/>
                </a:moveTo>
                <a:lnTo>
                  <a:pt x="11492899" y="298107"/>
                </a:lnTo>
                <a:lnTo>
                  <a:pt x="11427202" y="298107"/>
                </a:lnTo>
                <a:lnTo>
                  <a:pt x="11427202" y="349935"/>
                </a:lnTo>
                <a:lnTo>
                  <a:pt x="11492899" y="349935"/>
                </a:lnTo>
                <a:lnTo>
                  <a:pt x="11492899" y="467971"/>
                </a:lnTo>
                <a:cubicBezTo>
                  <a:pt x="11492899" y="501368"/>
                  <a:pt x="11499688" y="524216"/>
                  <a:pt x="11513302" y="536552"/>
                </a:cubicBezTo>
                <a:cubicBezTo>
                  <a:pt x="11526916" y="548889"/>
                  <a:pt x="11552976" y="555057"/>
                  <a:pt x="11591518" y="555057"/>
                </a:cubicBezTo>
                <a:lnTo>
                  <a:pt x="11648018" y="555057"/>
                </a:lnTo>
                <a:lnTo>
                  <a:pt x="11648018" y="503229"/>
                </a:lnTo>
                <a:lnTo>
                  <a:pt x="11596336" y="503229"/>
                </a:lnTo>
                <a:cubicBezTo>
                  <a:pt x="11583306" y="503229"/>
                  <a:pt x="11573999" y="500747"/>
                  <a:pt x="11568415" y="495783"/>
                </a:cubicBezTo>
                <a:cubicBezTo>
                  <a:pt x="11562831" y="490820"/>
                  <a:pt x="11560020" y="482607"/>
                  <a:pt x="11560020" y="471183"/>
                </a:cubicBezTo>
                <a:lnTo>
                  <a:pt x="11560020" y="349935"/>
                </a:lnTo>
                <a:lnTo>
                  <a:pt x="11647982" y="349935"/>
                </a:lnTo>
                <a:lnTo>
                  <a:pt x="11647982" y="298107"/>
                </a:lnTo>
                <a:lnTo>
                  <a:pt x="11560020" y="298107"/>
                </a:lnTo>
                <a:lnTo>
                  <a:pt x="11560020" y="225110"/>
                </a:lnTo>
                <a:close/>
                <a:moveTo>
                  <a:pt x="11773427" y="198101"/>
                </a:moveTo>
                <a:lnTo>
                  <a:pt x="11773427" y="241534"/>
                </a:lnTo>
                <a:lnTo>
                  <a:pt x="11828905" y="241534"/>
                </a:lnTo>
                <a:lnTo>
                  <a:pt x="11828905" y="573671"/>
                </a:lnTo>
                <a:lnTo>
                  <a:pt x="11773427" y="573671"/>
                </a:lnTo>
                <a:lnTo>
                  <a:pt x="11773427" y="617105"/>
                </a:lnTo>
                <a:lnTo>
                  <a:pt x="11889857" y="617105"/>
                </a:lnTo>
                <a:lnTo>
                  <a:pt x="11889857" y="198101"/>
                </a:lnTo>
                <a:close/>
                <a:moveTo>
                  <a:pt x="10990132" y="197736"/>
                </a:moveTo>
                <a:lnTo>
                  <a:pt x="10990132" y="617105"/>
                </a:lnTo>
                <a:lnTo>
                  <a:pt x="11106635" y="617105"/>
                </a:lnTo>
                <a:lnTo>
                  <a:pt x="11106635" y="573671"/>
                </a:lnTo>
                <a:lnTo>
                  <a:pt x="11051085" y="573671"/>
                </a:lnTo>
                <a:lnTo>
                  <a:pt x="11051085" y="241169"/>
                </a:lnTo>
                <a:lnTo>
                  <a:pt x="11106635" y="241169"/>
                </a:lnTo>
                <a:lnTo>
                  <a:pt x="11106635" y="19773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3780000">
            <a:noAutofit/>
          </a:bodyPr>
          <a:lstStyle>
            <a:lvl1pPr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Place Date">
            <a:extLst>
              <a:ext uri="{FF2B5EF4-FFF2-40B4-BE49-F238E27FC236}">
                <a16:creationId xmlns:a16="http://schemas.microsoft.com/office/drawing/2014/main" id="{008A8BDE-FC5C-4558-8761-E086AA9ABE1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5997600"/>
            <a:ext cx="3121025" cy="360000"/>
          </a:xfrm>
        </p:spPr>
        <p:txBody>
          <a:bodyPr lIns="270000" tIns="36000" rIns="108000" bIns="36000" anchor="ctr"/>
          <a:lstStyle>
            <a:lvl1pPr>
              <a:buNone/>
              <a:defRPr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 dirty="0"/>
              <a:t>Date, YYYY/MM/DD</a:t>
            </a:r>
          </a:p>
        </p:txBody>
      </p:sp>
      <p:sp>
        <p:nvSpPr>
          <p:cNvPr id="10" name="Speaker">
            <a:extLst>
              <a:ext uri="{FF2B5EF4-FFF2-40B4-BE49-F238E27FC236}">
                <a16:creationId xmlns:a16="http://schemas.microsoft.com/office/drawing/2014/main" id="{DEDBF81E-0BA0-42B9-970D-41B65E5839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951099" y="5213821"/>
            <a:ext cx="1240901" cy="353805"/>
          </a:xfrm>
          <a:solidFill>
            <a:schemeClr val="accent2"/>
          </a:solidFill>
        </p:spPr>
        <p:txBody>
          <a:bodyPr wrap="none" lIns="108000" tIns="36000" rIns="270000" bIns="36000">
            <a:spAutoFit/>
          </a:bodyPr>
          <a:lstStyle>
            <a:lvl1pPr algn="r">
              <a:buNone/>
              <a:defRPr sz="1800">
                <a:solidFill>
                  <a:schemeClr val="bg1"/>
                </a:solidFill>
              </a:defRPr>
            </a:lvl1pPr>
            <a:lvl2pPr>
              <a:buNone/>
              <a:defRPr sz="2400">
                <a:solidFill>
                  <a:schemeClr val="bg1"/>
                </a:solidFill>
              </a:defRPr>
            </a:lvl2pPr>
            <a:lvl3pPr>
              <a:buNone/>
              <a:defRPr sz="2400">
                <a:solidFill>
                  <a:schemeClr val="bg1"/>
                </a:solidFill>
              </a:defRPr>
            </a:lvl3pPr>
            <a:lvl4pPr>
              <a:buNone/>
              <a:defRPr sz="2400">
                <a:solidFill>
                  <a:schemeClr val="bg1"/>
                </a:solidFill>
              </a:defRPr>
            </a:lvl4pPr>
            <a:lvl5pPr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peaker</a:t>
            </a:r>
          </a:p>
        </p:txBody>
      </p:sp>
      <p:sp>
        <p:nvSpPr>
          <p:cNvPr id="9" name="Customers name">
            <a:extLst>
              <a:ext uri="{FF2B5EF4-FFF2-40B4-BE49-F238E27FC236}">
                <a16:creationId xmlns:a16="http://schemas.microsoft.com/office/drawing/2014/main" id="{7A0D7D4B-B886-48B0-B26D-08C980F7FE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96186" y="4694400"/>
            <a:ext cx="2795814" cy="447421"/>
          </a:xfrm>
          <a:solidFill>
            <a:schemeClr val="accent2"/>
          </a:solidFill>
        </p:spPr>
        <p:txBody>
          <a:bodyPr wrap="none" lIns="108000" tIns="36000" rIns="270000" bIns="36000">
            <a:spAutoFit/>
          </a:bodyPr>
          <a:lstStyle>
            <a:lvl1pPr algn="r">
              <a:buNone/>
              <a:defRPr sz="2400">
                <a:solidFill>
                  <a:schemeClr val="bg1"/>
                </a:solidFill>
              </a:defRPr>
            </a:lvl1pPr>
            <a:lvl2pPr>
              <a:buNone/>
              <a:defRPr sz="2400">
                <a:solidFill>
                  <a:schemeClr val="bg1"/>
                </a:solidFill>
              </a:defRPr>
            </a:lvl2pPr>
            <a:lvl3pPr>
              <a:buNone/>
              <a:defRPr sz="2400">
                <a:solidFill>
                  <a:schemeClr val="bg1"/>
                </a:solidFill>
              </a:defRPr>
            </a:lvl3pPr>
            <a:lvl4pPr>
              <a:buNone/>
              <a:defRPr sz="2400">
                <a:solidFill>
                  <a:schemeClr val="bg1"/>
                </a:solidFill>
              </a:defRPr>
            </a:lvl4pPr>
            <a:lvl5pPr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err="1"/>
              <a:t>Customer‘s</a:t>
            </a:r>
            <a:r>
              <a:rPr lang="de-DE" dirty="0"/>
              <a:t>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1298124E-582A-4C89-801D-7196504AFB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2382101"/>
            <a:ext cx="7409256" cy="634845"/>
          </a:xfrm>
          <a:solidFill>
            <a:schemeClr val="accent1"/>
          </a:solidFill>
        </p:spPr>
        <p:txBody>
          <a:bodyPr wrap="none" lIns="270000" tIns="36000" rIns="108000" bIns="36000">
            <a:spAutoFit/>
          </a:bodyPr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598A73E4-AE9E-4D3F-8366-8B3345DD64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738800"/>
            <a:ext cx="6126854" cy="571301"/>
          </a:xfrm>
        </p:spPr>
        <p:txBody>
          <a:bodyPr lIns="270000" tIns="36000" rIns="108000" bIns="36000" anchor="b">
            <a:spAutoFit/>
          </a:bodyPr>
          <a:lstStyle>
            <a:lvl1pPr algn="l">
              <a:defRPr sz="3600" b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4B7C34D4-F53E-4F5B-A250-D6684A2A60B6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29.09.2022</a:t>
            </a:fld>
            <a:endParaRPr lang="de-DE" dirty="0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F99CE203-DED9-409F-B33D-E89207D40C19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2"/>
            </p:custDataLst>
          </p:nvPr>
        </p:nvSpPr>
        <p:spPr/>
        <p:txBody>
          <a:bodyPr/>
          <a:lstStyle/>
          <a:p>
            <a:endParaRPr lang="de-DE" dirty="0">
              <a:noFill/>
            </a:endParaRP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1A96434E-4BE6-4AE3-A64D-963E6AF76F0D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42A0C3C-A441-4C3F-B9F1-793D433CF6FE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7178662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">
            <a:extLst>
              <a:ext uri="{FF2B5EF4-FFF2-40B4-BE49-F238E27FC236}">
                <a16:creationId xmlns:a16="http://schemas.microsoft.com/office/drawing/2014/main" id="{8F8BDA61-1E49-460C-94BC-07694CD5AA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6C13FDBA-BB18-4C7B-A850-8CD1720A89E9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29.09.2022</a:t>
            </a:fld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58585662-B21C-4B5B-AE43-1848FFCC62C8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2"/>
            </p:custDataLst>
          </p:nvPr>
        </p:nvSpPr>
        <p:spPr/>
        <p:txBody>
          <a:bodyPr/>
          <a:lstStyle/>
          <a:p>
            <a:endParaRPr lang="de-DE" dirty="0">
              <a:noFill/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F3F836D3-0F4E-4BDF-9055-D936A7BA23CE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42A0C3C-A441-4C3F-B9F1-793D433CF6FE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8972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ower 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">
            <a:extLst>
              <a:ext uri="{FF2B5EF4-FFF2-40B4-BE49-F238E27FC236}">
                <a16:creationId xmlns:a16="http://schemas.microsoft.com/office/drawing/2014/main" id="{465A2FE8-508C-4CDC-BE86-FE87DE2C275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3204000" cy="68580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0BE372D3-E2D7-4CA3-BD28-8BE1707839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316800"/>
            <a:ext cx="3133022" cy="46050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able of </a:t>
            </a:r>
            <a:r>
              <a:rPr lang="de-DE" dirty="0" err="1"/>
              <a:t>conten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248DFC7-9764-4820-9759-29E3B05E4976}"/>
              </a:ext>
            </a:extLst>
          </p:cNvPr>
          <p:cNvSpPr>
            <a:spLocks noGrp="1"/>
          </p:cNvSpPr>
          <p:nvPr>
            <p:ph type="dt" sz="half" idx="18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29.09.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D51CAF7-4E72-46A8-A7BE-B83F979F6E22}"/>
              </a:ext>
            </a:extLst>
          </p:cNvPr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/>
          <a:p>
            <a:endParaRPr lang="de-DE" dirty="0">
              <a:noFill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3687A07-0CBC-4AE4-B16E-90B6DBD4A70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42A0C3C-A441-4C3F-B9F1-793D433CF6FE}" type="slidenum">
              <a:rPr lang="de-DE"/>
              <a:pPr/>
              <a:t>‹Nr.›</a:t>
            </a:fld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256631116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  <p15:guide id="3" orient="horz" pos="1071">
          <p15:clr>
            <a:srgbClr val="FBAE40"/>
          </p15:clr>
        </p15:guide>
        <p15:guide id="4" orient="horz" pos="397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ower 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">
            <a:extLst>
              <a:ext uri="{FF2B5EF4-FFF2-40B4-BE49-F238E27FC236}">
                <a16:creationId xmlns:a16="http://schemas.microsoft.com/office/drawing/2014/main" id="{465A2FE8-508C-4CDC-BE86-FE87DE2C275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3200" cy="1989138"/>
          </a:xfrm>
          <a:solidFill>
            <a:schemeClr val="bg1">
              <a:lumMod val="95000"/>
            </a:schemeClr>
          </a:solidFill>
        </p:spPr>
        <p:txBody>
          <a:bodyPr tIns="468000"/>
          <a:lstStyle>
            <a:lvl1pPr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0BE372D3-E2D7-4CA3-BD28-8BE1707839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316800"/>
            <a:ext cx="3133022" cy="46050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able of </a:t>
            </a:r>
            <a:r>
              <a:rPr lang="de-DE" dirty="0" err="1"/>
              <a:t>conten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01BA8FD-8CAB-47EF-9104-508ECAA72D2F}"/>
              </a:ext>
            </a:extLst>
          </p:cNvPr>
          <p:cNvSpPr>
            <a:spLocks noGrp="1"/>
          </p:cNvSpPr>
          <p:nvPr>
            <p:ph type="dt" sz="half" idx="18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29.09.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854A34-D6CF-4C46-9920-DCF491DDD5B6}"/>
              </a:ext>
            </a:extLst>
          </p:cNvPr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/>
          <a:p>
            <a:endParaRPr lang="de-DE" dirty="0">
              <a:noFill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312C6C9-C653-4629-A56E-1CDCDB45BB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42A0C3C-A441-4C3F-B9F1-793D433CF6FE}" type="slidenum">
              <a:rPr lang="de-DE"/>
              <a:pPr/>
              <a:t>‹Nr.›</a:t>
            </a:fld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103725794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  <p15:guide id="3" orient="horz" pos="1253" userDrawn="1">
          <p15:clr>
            <a:srgbClr val="FBAE40"/>
          </p15:clr>
        </p15:guide>
        <p15:guide id="4" orient="horz" pos="397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3450E45-C870-4C00-B0C5-8C5AE34939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29.09.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B3855D4-2F1D-4216-8962-F964BA7042A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de-DE" dirty="0">
              <a:noFill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F28D2B6-2C85-4166-ABD4-50E11104C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A0C3C-A441-4C3F-B9F1-793D433CF6FE}" type="slidenum">
              <a:rPr lang="de-DE"/>
              <a:pPr/>
              <a:t>‹Nr.›</a:t>
            </a:fld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1199895562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ohn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G Orange rechts">
            <a:extLst>
              <a:ext uri="{FF2B5EF4-FFF2-40B4-BE49-F238E27FC236}">
                <a16:creationId xmlns:a16="http://schemas.microsoft.com/office/drawing/2014/main" id="{E90156E9-CF9A-443F-9F29-83F73D8AA390}"/>
              </a:ext>
            </a:extLst>
          </p:cNvPr>
          <p:cNvSpPr/>
          <p:nvPr userDrawn="1"/>
        </p:nvSpPr>
        <p:spPr>
          <a:xfrm>
            <a:off x="11728765" y="147089"/>
            <a:ext cx="210084" cy="5198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110000"/>
              </a:lnSpc>
              <a:spcAft>
                <a:spcPts val="200"/>
              </a:spcAft>
            </a:pPr>
            <a:endParaRPr lang="de-DE" sz="1400" dirty="0"/>
          </a:p>
        </p:txBody>
      </p:sp>
      <p:sp>
        <p:nvSpPr>
          <p:cNvPr id="14" name="HG Orange links">
            <a:extLst>
              <a:ext uri="{FF2B5EF4-FFF2-40B4-BE49-F238E27FC236}">
                <a16:creationId xmlns:a16="http://schemas.microsoft.com/office/drawing/2014/main" id="{2528A82B-E7B9-4532-A7BB-29BB12946490}"/>
              </a:ext>
            </a:extLst>
          </p:cNvPr>
          <p:cNvSpPr/>
          <p:nvPr userDrawn="1"/>
        </p:nvSpPr>
        <p:spPr>
          <a:xfrm>
            <a:off x="10927533" y="147089"/>
            <a:ext cx="210084" cy="5198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110000"/>
              </a:lnSpc>
              <a:spcAft>
                <a:spcPts val="200"/>
              </a:spcAft>
            </a:pPr>
            <a:endParaRPr lang="de-DE" sz="1400" dirty="0"/>
          </a:p>
        </p:txBody>
      </p:sp>
      <p:sp>
        <p:nvSpPr>
          <p:cNvPr id="12" name="Bildplatzhalter">
            <a:extLst>
              <a:ext uri="{FF2B5EF4-FFF2-40B4-BE49-F238E27FC236}">
                <a16:creationId xmlns:a16="http://schemas.microsoft.com/office/drawing/2014/main" id="{7E42519A-B67D-4DC5-891C-31375F45FDE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665610 w 12192000"/>
              <a:gd name="connsiteY0" fmla="*/ 772625 h 6858000"/>
              <a:gd name="connsiteX1" fmla="*/ 11665610 w 12192000"/>
              <a:gd name="connsiteY1" fmla="*/ 783465 h 6858000"/>
              <a:gd name="connsiteX2" fmla="*/ 11658822 w 12192000"/>
              <a:gd name="connsiteY2" fmla="*/ 788721 h 6858000"/>
              <a:gd name="connsiteX3" fmla="*/ 11650573 w 12192000"/>
              <a:gd name="connsiteY3" fmla="*/ 790436 h 6858000"/>
              <a:gd name="connsiteX4" fmla="*/ 11644259 w 12192000"/>
              <a:gd name="connsiteY4" fmla="*/ 788684 h 6858000"/>
              <a:gd name="connsiteX5" fmla="*/ 11641850 w 12192000"/>
              <a:gd name="connsiteY5" fmla="*/ 782845 h 6858000"/>
              <a:gd name="connsiteX6" fmla="*/ 11643054 w 12192000"/>
              <a:gd name="connsiteY6" fmla="*/ 779012 h 6858000"/>
              <a:gd name="connsiteX7" fmla="*/ 11646996 w 12192000"/>
              <a:gd name="connsiteY7" fmla="*/ 775946 h 6858000"/>
              <a:gd name="connsiteX8" fmla="*/ 11654332 w 12192000"/>
              <a:gd name="connsiteY8" fmla="*/ 773793 h 6858000"/>
              <a:gd name="connsiteX9" fmla="*/ 11665610 w 12192000"/>
              <a:gd name="connsiteY9" fmla="*/ 772625 h 6858000"/>
              <a:gd name="connsiteX10" fmla="*/ 11244271 w 12192000"/>
              <a:gd name="connsiteY10" fmla="*/ 769924 h 6858000"/>
              <a:gd name="connsiteX11" fmla="*/ 11244308 w 12192000"/>
              <a:gd name="connsiteY11" fmla="*/ 769924 h 6858000"/>
              <a:gd name="connsiteX12" fmla="*/ 11244308 w 12192000"/>
              <a:gd name="connsiteY12" fmla="*/ 786276 h 6858000"/>
              <a:gd name="connsiteX13" fmla="*/ 11239855 w 12192000"/>
              <a:gd name="connsiteY13" fmla="*/ 790473 h 6858000"/>
              <a:gd name="connsiteX14" fmla="*/ 11235001 w 12192000"/>
              <a:gd name="connsiteY14" fmla="*/ 793831 h 6858000"/>
              <a:gd name="connsiteX15" fmla="*/ 11229344 w 12192000"/>
              <a:gd name="connsiteY15" fmla="*/ 796021 h 6858000"/>
              <a:gd name="connsiteX16" fmla="*/ 11222664 w 12192000"/>
              <a:gd name="connsiteY16" fmla="*/ 796787 h 6858000"/>
              <a:gd name="connsiteX17" fmla="*/ 11217956 w 12192000"/>
              <a:gd name="connsiteY17" fmla="*/ 796094 h 6858000"/>
              <a:gd name="connsiteX18" fmla="*/ 11213978 w 12192000"/>
              <a:gd name="connsiteY18" fmla="*/ 793940 h 6858000"/>
              <a:gd name="connsiteX19" fmla="*/ 11211204 w 12192000"/>
              <a:gd name="connsiteY19" fmla="*/ 790181 h 6858000"/>
              <a:gd name="connsiteX20" fmla="*/ 11210182 w 12192000"/>
              <a:gd name="connsiteY20" fmla="*/ 784743 h 6858000"/>
              <a:gd name="connsiteX21" fmla="*/ 11212189 w 12192000"/>
              <a:gd name="connsiteY21" fmla="*/ 778830 h 6858000"/>
              <a:gd name="connsiteX22" fmla="*/ 11218357 w 12192000"/>
              <a:gd name="connsiteY22" fmla="*/ 774341 h 6858000"/>
              <a:gd name="connsiteX23" fmla="*/ 11228942 w 12192000"/>
              <a:gd name="connsiteY23" fmla="*/ 771348 h 6858000"/>
              <a:gd name="connsiteX24" fmla="*/ 11244271 w 12192000"/>
              <a:gd name="connsiteY24" fmla="*/ 769924 h 6858000"/>
              <a:gd name="connsiteX25" fmla="*/ 11032215 w 12192000"/>
              <a:gd name="connsiteY25" fmla="*/ 769924 h 6858000"/>
              <a:gd name="connsiteX26" fmla="*/ 11032251 w 12192000"/>
              <a:gd name="connsiteY26" fmla="*/ 769924 h 6858000"/>
              <a:gd name="connsiteX27" fmla="*/ 11032251 w 12192000"/>
              <a:gd name="connsiteY27" fmla="*/ 786276 h 6858000"/>
              <a:gd name="connsiteX28" fmla="*/ 11027799 w 12192000"/>
              <a:gd name="connsiteY28" fmla="*/ 790473 h 6858000"/>
              <a:gd name="connsiteX29" fmla="*/ 11022944 w 12192000"/>
              <a:gd name="connsiteY29" fmla="*/ 793831 h 6858000"/>
              <a:gd name="connsiteX30" fmla="*/ 11017287 w 12192000"/>
              <a:gd name="connsiteY30" fmla="*/ 796021 h 6858000"/>
              <a:gd name="connsiteX31" fmla="*/ 11010608 w 12192000"/>
              <a:gd name="connsiteY31" fmla="*/ 796787 h 6858000"/>
              <a:gd name="connsiteX32" fmla="*/ 11005899 w 12192000"/>
              <a:gd name="connsiteY32" fmla="*/ 796094 h 6858000"/>
              <a:gd name="connsiteX33" fmla="*/ 11001921 w 12192000"/>
              <a:gd name="connsiteY33" fmla="*/ 793940 h 6858000"/>
              <a:gd name="connsiteX34" fmla="*/ 10999147 w 12192000"/>
              <a:gd name="connsiteY34" fmla="*/ 790181 h 6858000"/>
              <a:gd name="connsiteX35" fmla="*/ 10998125 w 12192000"/>
              <a:gd name="connsiteY35" fmla="*/ 784743 h 6858000"/>
              <a:gd name="connsiteX36" fmla="*/ 11000133 w 12192000"/>
              <a:gd name="connsiteY36" fmla="*/ 778830 h 6858000"/>
              <a:gd name="connsiteX37" fmla="*/ 11006301 w 12192000"/>
              <a:gd name="connsiteY37" fmla="*/ 774341 h 6858000"/>
              <a:gd name="connsiteX38" fmla="*/ 11016886 w 12192000"/>
              <a:gd name="connsiteY38" fmla="*/ 771348 h 6858000"/>
              <a:gd name="connsiteX39" fmla="*/ 11032215 w 12192000"/>
              <a:gd name="connsiteY39" fmla="*/ 769924 h 6858000"/>
              <a:gd name="connsiteX40" fmla="*/ 11363804 w 12192000"/>
              <a:gd name="connsiteY40" fmla="*/ 741310 h 6858000"/>
              <a:gd name="connsiteX41" fmla="*/ 11373731 w 12192000"/>
              <a:gd name="connsiteY41" fmla="*/ 743500 h 6858000"/>
              <a:gd name="connsiteX42" fmla="*/ 11381652 w 12192000"/>
              <a:gd name="connsiteY42" fmla="*/ 751091 h 6858000"/>
              <a:gd name="connsiteX43" fmla="*/ 11381688 w 12192000"/>
              <a:gd name="connsiteY43" fmla="*/ 751091 h 6858000"/>
              <a:gd name="connsiteX44" fmla="*/ 11381688 w 12192000"/>
              <a:gd name="connsiteY44" fmla="*/ 783904 h 6858000"/>
              <a:gd name="connsiteX45" fmla="*/ 11372710 w 12192000"/>
              <a:gd name="connsiteY45" fmla="*/ 792882 h 6858000"/>
              <a:gd name="connsiteX46" fmla="*/ 11361468 w 12192000"/>
              <a:gd name="connsiteY46" fmla="*/ 796094 h 6858000"/>
              <a:gd name="connsiteX47" fmla="*/ 11346686 w 12192000"/>
              <a:gd name="connsiteY47" fmla="*/ 789524 h 6858000"/>
              <a:gd name="connsiteX48" fmla="*/ 11341576 w 12192000"/>
              <a:gd name="connsiteY48" fmla="*/ 769049 h 6858000"/>
              <a:gd name="connsiteX49" fmla="*/ 11343000 w 12192000"/>
              <a:gd name="connsiteY49" fmla="*/ 757807 h 6858000"/>
              <a:gd name="connsiteX50" fmla="*/ 11347197 w 12192000"/>
              <a:gd name="connsiteY50" fmla="*/ 749011 h 6858000"/>
              <a:gd name="connsiteX51" fmla="*/ 11354132 w 12192000"/>
              <a:gd name="connsiteY51" fmla="*/ 743317 h 6858000"/>
              <a:gd name="connsiteX52" fmla="*/ 11363804 w 12192000"/>
              <a:gd name="connsiteY52" fmla="*/ 741310 h 6858000"/>
              <a:gd name="connsiteX53" fmla="*/ 11432604 w 12192000"/>
              <a:gd name="connsiteY53" fmla="*/ 741126 h 6858000"/>
              <a:gd name="connsiteX54" fmla="*/ 11440415 w 12192000"/>
              <a:gd name="connsiteY54" fmla="*/ 742586 h 6858000"/>
              <a:gd name="connsiteX55" fmla="*/ 11446546 w 12192000"/>
              <a:gd name="connsiteY55" fmla="*/ 746820 h 6858000"/>
              <a:gd name="connsiteX56" fmla="*/ 11450525 w 12192000"/>
              <a:gd name="connsiteY56" fmla="*/ 753572 h 6858000"/>
              <a:gd name="connsiteX57" fmla="*/ 11451948 w 12192000"/>
              <a:gd name="connsiteY57" fmla="*/ 762587 h 6858000"/>
              <a:gd name="connsiteX58" fmla="*/ 11410595 w 12192000"/>
              <a:gd name="connsiteY58" fmla="*/ 762587 h 6858000"/>
              <a:gd name="connsiteX59" fmla="*/ 11412858 w 12192000"/>
              <a:gd name="connsiteY59" fmla="*/ 753755 h 6858000"/>
              <a:gd name="connsiteX60" fmla="*/ 11417347 w 12192000"/>
              <a:gd name="connsiteY60" fmla="*/ 746966 h 6858000"/>
              <a:gd name="connsiteX61" fmla="*/ 11423954 w 12192000"/>
              <a:gd name="connsiteY61" fmla="*/ 742623 h 6858000"/>
              <a:gd name="connsiteX62" fmla="*/ 11432604 w 12192000"/>
              <a:gd name="connsiteY62" fmla="*/ 741126 h 6858000"/>
              <a:gd name="connsiteX63" fmla="*/ 11110139 w 12192000"/>
              <a:gd name="connsiteY63" fmla="*/ 741126 h 6858000"/>
              <a:gd name="connsiteX64" fmla="*/ 11117950 w 12192000"/>
              <a:gd name="connsiteY64" fmla="*/ 742586 h 6858000"/>
              <a:gd name="connsiteX65" fmla="*/ 11124081 w 12192000"/>
              <a:gd name="connsiteY65" fmla="*/ 746820 h 6858000"/>
              <a:gd name="connsiteX66" fmla="*/ 11128060 w 12192000"/>
              <a:gd name="connsiteY66" fmla="*/ 753572 h 6858000"/>
              <a:gd name="connsiteX67" fmla="*/ 11129483 w 12192000"/>
              <a:gd name="connsiteY67" fmla="*/ 762587 h 6858000"/>
              <a:gd name="connsiteX68" fmla="*/ 11088130 w 12192000"/>
              <a:gd name="connsiteY68" fmla="*/ 762587 h 6858000"/>
              <a:gd name="connsiteX69" fmla="*/ 11090393 w 12192000"/>
              <a:gd name="connsiteY69" fmla="*/ 753755 h 6858000"/>
              <a:gd name="connsiteX70" fmla="*/ 11094882 w 12192000"/>
              <a:gd name="connsiteY70" fmla="*/ 746966 h 6858000"/>
              <a:gd name="connsiteX71" fmla="*/ 11101489 w 12192000"/>
              <a:gd name="connsiteY71" fmla="*/ 742623 h 6858000"/>
              <a:gd name="connsiteX72" fmla="*/ 11110139 w 12192000"/>
              <a:gd name="connsiteY72" fmla="*/ 741126 h 6858000"/>
              <a:gd name="connsiteX73" fmla="*/ 11143791 w 12192000"/>
              <a:gd name="connsiteY73" fmla="*/ 737659 h 6858000"/>
              <a:gd name="connsiteX74" fmla="*/ 11165617 w 12192000"/>
              <a:gd name="connsiteY74" fmla="*/ 768135 h 6858000"/>
              <a:gd name="connsiteX75" fmla="*/ 11142915 w 12192000"/>
              <a:gd name="connsiteY75" fmla="*/ 800072 h 6858000"/>
              <a:gd name="connsiteX76" fmla="*/ 11148317 w 12192000"/>
              <a:gd name="connsiteY76" fmla="*/ 800072 h 6858000"/>
              <a:gd name="connsiteX77" fmla="*/ 11149558 w 12192000"/>
              <a:gd name="connsiteY77" fmla="*/ 799561 h 6858000"/>
              <a:gd name="connsiteX78" fmla="*/ 11150470 w 12192000"/>
              <a:gd name="connsiteY78" fmla="*/ 798502 h 6858000"/>
              <a:gd name="connsiteX79" fmla="*/ 11168537 w 12192000"/>
              <a:gd name="connsiteY79" fmla="*/ 773026 h 6858000"/>
              <a:gd name="connsiteX80" fmla="*/ 11169486 w 12192000"/>
              <a:gd name="connsiteY80" fmla="*/ 770836 h 6858000"/>
              <a:gd name="connsiteX81" fmla="*/ 11188429 w 12192000"/>
              <a:gd name="connsiteY81" fmla="*/ 798502 h 6858000"/>
              <a:gd name="connsiteX82" fmla="*/ 11189232 w 12192000"/>
              <a:gd name="connsiteY82" fmla="*/ 799524 h 6858000"/>
              <a:gd name="connsiteX83" fmla="*/ 11190619 w 12192000"/>
              <a:gd name="connsiteY83" fmla="*/ 800072 h 6858000"/>
              <a:gd name="connsiteX84" fmla="*/ 11196312 w 12192000"/>
              <a:gd name="connsiteY84" fmla="*/ 800072 h 6858000"/>
              <a:gd name="connsiteX85" fmla="*/ 11173647 w 12192000"/>
              <a:gd name="connsiteY85" fmla="*/ 767770 h 6858000"/>
              <a:gd name="connsiteX86" fmla="*/ 11195400 w 12192000"/>
              <a:gd name="connsiteY86" fmla="*/ 737659 h 6858000"/>
              <a:gd name="connsiteX87" fmla="*/ 11189925 w 12192000"/>
              <a:gd name="connsiteY87" fmla="*/ 737659 h 6858000"/>
              <a:gd name="connsiteX88" fmla="*/ 11188794 w 12192000"/>
              <a:gd name="connsiteY88" fmla="*/ 738024 h 6858000"/>
              <a:gd name="connsiteX89" fmla="*/ 11187991 w 12192000"/>
              <a:gd name="connsiteY89" fmla="*/ 738973 h 6858000"/>
              <a:gd name="connsiteX90" fmla="*/ 11170873 w 12192000"/>
              <a:gd name="connsiteY90" fmla="*/ 763135 h 6858000"/>
              <a:gd name="connsiteX91" fmla="*/ 11170289 w 12192000"/>
              <a:gd name="connsiteY91" fmla="*/ 764266 h 6858000"/>
              <a:gd name="connsiteX92" fmla="*/ 11169887 w 12192000"/>
              <a:gd name="connsiteY92" fmla="*/ 765325 h 6858000"/>
              <a:gd name="connsiteX93" fmla="*/ 11151565 w 12192000"/>
              <a:gd name="connsiteY93" fmla="*/ 738900 h 6858000"/>
              <a:gd name="connsiteX94" fmla="*/ 11150799 w 12192000"/>
              <a:gd name="connsiteY94" fmla="*/ 738024 h 6858000"/>
              <a:gd name="connsiteX95" fmla="*/ 11149485 w 12192000"/>
              <a:gd name="connsiteY95" fmla="*/ 737659 h 6858000"/>
              <a:gd name="connsiteX96" fmla="*/ 11432494 w 12192000"/>
              <a:gd name="connsiteY96" fmla="*/ 736710 h 6858000"/>
              <a:gd name="connsiteX97" fmla="*/ 11420596 w 12192000"/>
              <a:gd name="connsiteY97" fmla="*/ 739046 h 6858000"/>
              <a:gd name="connsiteX98" fmla="*/ 11411763 w 12192000"/>
              <a:gd name="connsiteY98" fmla="*/ 745470 h 6858000"/>
              <a:gd name="connsiteX99" fmla="*/ 11406252 w 12192000"/>
              <a:gd name="connsiteY99" fmla="*/ 755251 h 6858000"/>
              <a:gd name="connsiteX100" fmla="*/ 11404354 w 12192000"/>
              <a:gd name="connsiteY100" fmla="*/ 767624 h 6858000"/>
              <a:gd name="connsiteX101" fmla="*/ 11406398 w 12192000"/>
              <a:gd name="connsiteY101" fmla="*/ 781786 h 6858000"/>
              <a:gd name="connsiteX102" fmla="*/ 11412201 w 12192000"/>
              <a:gd name="connsiteY102" fmla="*/ 792224 h 6858000"/>
              <a:gd name="connsiteX103" fmla="*/ 11421216 w 12192000"/>
              <a:gd name="connsiteY103" fmla="*/ 798721 h 6858000"/>
              <a:gd name="connsiteX104" fmla="*/ 11432896 w 12192000"/>
              <a:gd name="connsiteY104" fmla="*/ 800947 h 6858000"/>
              <a:gd name="connsiteX105" fmla="*/ 11439904 w 12192000"/>
              <a:gd name="connsiteY105" fmla="*/ 800254 h 6858000"/>
              <a:gd name="connsiteX106" fmla="*/ 11446437 w 12192000"/>
              <a:gd name="connsiteY106" fmla="*/ 798393 h 6858000"/>
              <a:gd name="connsiteX107" fmla="*/ 11451948 w 12192000"/>
              <a:gd name="connsiteY107" fmla="*/ 795619 h 6858000"/>
              <a:gd name="connsiteX108" fmla="*/ 11455926 w 12192000"/>
              <a:gd name="connsiteY108" fmla="*/ 792115 h 6858000"/>
              <a:gd name="connsiteX109" fmla="*/ 11454284 w 12192000"/>
              <a:gd name="connsiteY109" fmla="*/ 790107 h 6858000"/>
              <a:gd name="connsiteX110" fmla="*/ 11453043 w 12192000"/>
              <a:gd name="connsiteY110" fmla="*/ 789487 h 6858000"/>
              <a:gd name="connsiteX111" fmla="*/ 11451036 w 12192000"/>
              <a:gd name="connsiteY111" fmla="*/ 790509 h 6858000"/>
              <a:gd name="connsiteX112" fmla="*/ 11447313 w 12192000"/>
              <a:gd name="connsiteY112" fmla="*/ 792845 h 6858000"/>
              <a:gd name="connsiteX113" fmla="*/ 11441510 w 12192000"/>
              <a:gd name="connsiteY113" fmla="*/ 795181 h 6858000"/>
              <a:gd name="connsiteX114" fmla="*/ 11433370 w 12192000"/>
              <a:gd name="connsiteY114" fmla="*/ 796203 h 6858000"/>
              <a:gd name="connsiteX115" fmla="*/ 11423844 w 12192000"/>
              <a:gd name="connsiteY115" fmla="*/ 794378 h 6858000"/>
              <a:gd name="connsiteX116" fmla="*/ 11416581 w 12192000"/>
              <a:gd name="connsiteY116" fmla="*/ 788939 h 6858000"/>
              <a:gd name="connsiteX117" fmla="*/ 11411946 w 12192000"/>
              <a:gd name="connsiteY117" fmla="*/ 779997 h 6858000"/>
              <a:gd name="connsiteX118" fmla="*/ 11410303 w 12192000"/>
              <a:gd name="connsiteY118" fmla="*/ 767624 h 6858000"/>
              <a:gd name="connsiteX119" fmla="*/ 11410303 w 12192000"/>
              <a:gd name="connsiteY119" fmla="*/ 766493 h 6858000"/>
              <a:gd name="connsiteX120" fmla="*/ 11455671 w 12192000"/>
              <a:gd name="connsiteY120" fmla="*/ 766493 h 6858000"/>
              <a:gd name="connsiteX121" fmla="*/ 11456912 w 12192000"/>
              <a:gd name="connsiteY121" fmla="*/ 765982 h 6858000"/>
              <a:gd name="connsiteX122" fmla="*/ 11457277 w 12192000"/>
              <a:gd name="connsiteY122" fmla="*/ 764084 h 6858000"/>
              <a:gd name="connsiteX123" fmla="*/ 11455379 w 12192000"/>
              <a:gd name="connsiteY123" fmla="*/ 752404 h 6858000"/>
              <a:gd name="connsiteX124" fmla="*/ 11450123 w 12192000"/>
              <a:gd name="connsiteY124" fmla="*/ 743827 h 6858000"/>
              <a:gd name="connsiteX125" fmla="*/ 11442276 w 12192000"/>
              <a:gd name="connsiteY125" fmla="*/ 738535 h 6858000"/>
              <a:gd name="connsiteX126" fmla="*/ 11432494 w 12192000"/>
              <a:gd name="connsiteY126" fmla="*/ 736710 h 6858000"/>
              <a:gd name="connsiteX127" fmla="*/ 11110029 w 12192000"/>
              <a:gd name="connsiteY127" fmla="*/ 736710 h 6858000"/>
              <a:gd name="connsiteX128" fmla="*/ 11098131 w 12192000"/>
              <a:gd name="connsiteY128" fmla="*/ 739046 h 6858000"/>
              <a:gd name="connsiteX129" fmla="*/ 11089298 w 12192000"/>
              <a:gd name="connsiteY129" fmla="*/ 745470 h 6858000"/>
              <a:gd name="connsiteX130" fmla="*/ 11083787 w 12192000"/>
              <a:gd name="connsiteY130" fmla="*/ 755251 h 6858000"/>
              <a:gd name="connsiteX131" fmla="*/ 11081889 w 12192000"/>
              <a:gd name="connsiteY131" fmla="*/ 767624 h 6858000"/>
              <a:gd name="connsiteX132" fmla="*/ 11083933 w 12192000"/>
              <a:gd name="connsiteY132" fmla="*/ 781786 h 6858000"/>
              <a:gd name="connsiteX133" fmla="*/ 11089736 w 12192000"/>
              <a:gd name="connsiteY133" fmla="*/ 792224 h 6858000"/>
              <a:gd name="connsiteX134" fmla="*/ 11098751 w 12192000"/>
              <a:gd name="connsiteY134" fmla="*/ 798721 h 6858000"/>
              <a:gd name="connsiteX135" fmla="*/ 11110431 w 12192000"/>
              <a:gd name="connsiteY135" fmla="*/ 800947 h 6858000"/>
              <a:gd name="connsiteX136" fmla="*/ 11117439 w 12192000"/>
              <a:gd name="connsiteY136" fmla="*/ 800254 h 6858000"/>
              <a:gd name="connsiteX137" fmla="*/ 11123972 w 12192000"/>
              <a:gd name="connsiteY137" fmla="*/ 798393 h 6858000"/>
              <a:gd name="connsiteX138" fmla="*/ 11129483 w 12192000"/>
              <a:gd name="connsiteY138" fmla="*/ 795619 h 6858000"/>
              <a:gd name="connsiteX139" fmla="*/ 11133461 w 12192000"/>
              <a:gd name="connsiteY139" fmla="*/ 792115 h 6858000"/>
              <a:gd name="connsiteX140" fmla="*/ 11131819 w 12192000"/>
              <a:gd name="connsiteY140" fmla="*/ 790107 h 6858000"/>
              <a:gd name="connsiteX141" fmla="*/ 11130578 w 12192000"/>
              <a:gd name="connsiteY141" fmla="*/ 789487 h 6858000"/>
              <a:gd name="connsiteX142" fmla="*/ 11128571 w 12192000"/>
              <a:gd name="connsiteY142" fmla="*/ 790509 h 6858000"/>
              <a:gd name="connsiteX143" fmla="*/ 11124848 w 12192000"/>
              <a:gd name="connsiteY143" fmla="*/ 792845 h 6858000"/>
              <a:gd name="connsiteX144" fmla="*/ 11119045 w 12192000"/>
              <a:gd name="connsiteY144" fmla="*/ 795181 h 6858000"/>
              <a:gd name="connsiteX145" fmla="*/ 11110905 w 12192000"/>
              <a:gd name="connsiteY145" fmla="*/ 796203 h 6858000"/>
              <a:gd name="connsiteX146" fmla="*/ 11101379 w 12192000"/>
              <a:gd name="connsiteY146" fmla="*/ 794378 h 6858000"/>
              <a:gd name="connsiteX147" fmla="*/ 11094116 w 12192000"/>
              <a:gd name="connsiteY147" fmla="*/ 788939 h 6858000"/>
              <a:gd name="connsiteX148" fmla="*/ 11089481 w 12192000"/>
              <a:gd name="connsiteY148" fmla="*/ 779997 h 6858000"/>
              <a:gd name="connsiteX149" fmla="*/ 11087838 w 12192000"/>
              <a:gd name="connsiteY149" fmla="*/ 767624 h 6858000"/>
              <a:gd name="connsiteX150" fmla="*/ 11087838 w 12192000"/>
              <a:gd name="connsiteY150" fmla="*/ 766493 h 6858000"/>
              <a:gd name="connsiteX151" fmla="*/ 11133206 w 12192000"/>
              <a:gd name="connsiteY151" fmla="*/ 766493 h 6858000"/>
              <a:gd name="connsiteX152" fmla="*/ 11134447 w 12192000"/>
              <a:gd name="connsiteY152" fmla="*/ 765982 h 6858000"/>
              <a:gd name="connsiteX153" fmla="*/ 11134812 w 12192000"/>
              <a:gd name="connsiteY153" fmla="*/ 764084 h 6858000"/>
              <a:gd name="connsiteX154" fmla="*/ 11132914 w 12192000"/>
              <a:gd name="connsiteY154" fmla="*/ 752404 h 6858000"/>
              <a:gd name="connsiteX155" fmla="*/ 11127658 w 12192000"/>
              <a:gd name="connsiteY155" fmla="*/ 743827 h 6858000"/>
              <a:gd name="connsiteX156" fmla="*/ 11119811 w 12192000"/>
              <a:gd name="connsiteY156" fmla="*/ 738535 h 6858000"/>
              <a:gd name="connsiteX157" fmla="*/ 11110029 w 12192000"/>
              <a:gd name="connsiteY157" fmla="*/ 736710 h 6858000"/>
              <a:gd name="connsiteX158" fmla="*/ 11298399 w 12192000"/>
              <a:gd name="connsiteY158" fmla="*/ 736674 h 6858000"/>
              <a:gd name="connsiteX159" fmla="*/ 11285770 w 12192000"/>
              <a:gd name="connsiteY159" fmla="*/ 739922 h 6858000"/>
              <a:gd name="connsiteX160" fmla="*/ 11275770 w 12192000"/>
              <a:gd name="connsiteY160" fmla="*/ 748573 h 6858000"/>
              <a:gd name="connsiteX161" fmla="*/ 11275222 w 12192000"/>
              <a:gd name="connsiteY161" fmla="*/ 739265 h 6858000"/>
              <a:gd name="connsiteX162" fmla="*/ 11273397 w 12192000"/>
              <a:gd name="connsiteY162" fmla="*/ 737696 h 6858000"/>
              <a:gd name="connsiteX163" fmla="*/ 11270076 w 12192000"/>
              <a:gd name="connsiteY163" fmla="*/ 737696 h 6858000"/>
              <a:gd name="connsiteX164" fmla="*/ 11270076 w 12192000"/>
              <a:gd name="connsiteY164" fmla="*/ 800109 h 6858000"/>
              <a:gd name="connsiteX165" fmla="*/ 11276062 w 12192000"/>
              <a:gd name="connsiteY165" fmla="*/ 800109 h 6858000"/>
              <a:gd name="connsiteX166" fmla="*/ 11276062 w 12192000"/>
              <a:gd name="connsiteY166" fmla="*/ 753171 h 6858000"/>
              <a:gd name="connsiteX167" fmla="*/ 11285515 w 12192000"/>
              <a:gd name="connsiteY167" fmla="*/ 744558 h 6858000"/>
              <a:gd name="connsiteX168" fmla="*/ 11296902 w 12192000"/>
              <a:gd name="connsiteY168" fmla="*/ 741455 h 6858000"/>
              <a:gd name="connsiteX169" fmla="*/ 11309129 w 12192000"/>
              <a:gd name="connsiteY169" fmla="*/ 746456 h 6858000"/>
              <a:gd name="connsiteX170" fmla="*/ 11313144 w 12192000"/>
              <a:gd name="connsiteY170" fmla="*/ 760216 h 6858000"/>
              <a:gd name="connsiteX171" fmla="*/ 11313144 w 12192000"/>
              <a:gd name="connsiteY171" fmla="*/ 800109 h 6858000"/>
              <a:gd name="connsiteX172" fmla="*/ 11319167 w 12192000"/>
              <a:gd name="connsiteY172" fmla="*/ 800109 h 6858000"/>
              <a:gd name="connsiteX173" fmla="*/ 11319167 w 12192000"/>
              <a:gd name="connsiteY173" fmla="*/ 760216 h 6858000"/>
              <a:gd name="connsiteX174" fmla="*/ 11317853 w 12192000"/>
              <a:gd name="connsiteY174" fmla="*/ 750434 h 6858000"/>
              <a:gd name="connsiteX175" fmla="*/ 11313947 w 12192000"/>
              <a:gd name="connsiteY175" fmla="*/ 743025 h 6858000"/>
              <a:gd name="connsiteX176" fmla="*/ 11307451 w 12192000"/>
              <a:gd name="connsiteY176" fmla="*/ 738316 h 6858000"/>
              <a:gd name="connsiteX177" fmla="*/ 11298399 w 12192000"/>
              <a:gd name="connsiteY177" fmla="*/ 736674 h 6858000"/>
              <a:gd name="connsiteX178" fmla="*/ 11498886 w 12192000"/>
              <a:gd name="connsiteY178" fmla="*/ 736637 h 6858000"/>
              <a:gd name="connsiteX179" fmla="*/ 11492279 w 12192000"/>
              <a:gd name="connsiteY179" fmla="*/ 737732 h 6858000"/>
              <a:gd name="connsiteX180" fmla="*/ 11486877 w 12192000"/>
              <a:gd name="connsiteY180" fmla="*/ 740907 h 6858000"/>
              <a:gd name="connsiteX181" fmla="*/ 11482607 w 12192000"/>
              <a:gd name="connsiteY181" fmla="*/ 745944 h 6858000"/>
              <a:gd name="connsiteX182" fmla="*/ 11479322 w 12192000"/>
              <a:gd name="connsiteY182" fmla="*/ 752733 h 6858000"/>
              <a:gd name="connsiteX183" fmla="*/ 11478848 w 12192000"/>
              <a:gd name="connsiteY183" fmla="*/ 739666 h 6858000"/>
              <a:gd name="connsiteX184" fmla="*/ 11478300 w 12192000"/>
              <a:gd name="connsiteY184" fmla="*/ 738170 h 6858000"/>
              <a:gd name="connsiteX185" fmla="*/ 11476804 w 12192000"/>
              <a:gd name="connsiteY185" fmla="*/ 737732 h 6858000"/>
              <a:gd name="connsiteX186" fmla="*/ 11473592 w 12192000"/>
              <a:gd name="connsiteY186" fmla="*/ 737732 h 6858000"/>
              <a:gd name="connsiteX187" fmla="*/ 11473592 w 12192000"/>
              <a:gd name="connsiteY187" fmla="*/ 800145 h 6858000"/>
              <a:gd name="connsiteX188" fmla="*/ 11479614 w 12192000"/>
              <a:gd name="connsiteY188" fmla="*/ 800145 h 6858000"/>
              <a:gd name="connsiteX189" fmla="*/ 11479614 w 12192000"/>
              <a:gd name="connsiteY189" fmla="*/ 759741 h 6858000"/>
              <a:gd name="connsiteX190" fmla="*/ 11482644 w 12192000"/>
              <a:gd name="connsiteY190" fmla="*/ 752295 h 6858000"/>
              <a:gd name="connsiteX191" fmla="*/ 11486549 w 12192000"/>
              <a:gd name="connsiteY191" fmla="*/ 746857 h 6858000"/>
              <a:gd name="connsiteX192" fmla="*/ 11491549 w 12192000"/>
              <a:gd name="connsiteY192" fmla="*/ 743572 h 6858000"/>
              <a:gd name="connsiteX193" fmla="*/ 11497973 w 12192000"/>
              <a:gd name="connsiteY193" fmla="*/ 742477 h 6858000"/>
              <a:gd name="connsiteX194" fmla="*/ 11502024 w 12192000"/>
              <a:gd name="connsiteY194" fmla="*/ 742915 h 6858000"/>
              <a:gd name="connsiteX195" fmla="*/ 11504324 w 12192000"/>
              <a:gd name="connsiteY195" fmla="*/ 743353 h 6858000"/>
              <a:gd name="connsiteX196" fmla="*/ 11505528 w 12192000"/>
              <a:gd name="connsiteY196" fmla="*/ 742331 h 6858000"/>
              <a:gd name="connsiteX197" fmla="*/ 11506039 w 12192000"/>
              <a:gd name="connsiteY197" fmla="*/ 738206 h 6858000"/>
              <a:gd name="connsiteX198" fmla="*/ 11502718 w 12192000"/>
              <a:gd name="connsiteY198" fmla="*/ 736965 h 6858000"/>
              <a:gd name="connsiteX199" fmla="*/ 11498886 w 12192000"/>
              <a:gd name="connsiteY199" fmla="*/ 736637 h 6858000"/>
              <a:gd name="connsiteX200" fmla="*/ 11230110 w 12192000"/>
              <a:gd name="connsiteY200" fmla="*/ 736601 h 6858000"/>
              <a:gd name="connsiteX201" fmla="*/ 11217883 w 12192000"/>
              <a:gd name="connsiteY201" fmla="*/ 739119 h 6858000"/>
              <a:gd name="connsiteX202" fmla="*/ 11207590 w 12192000"/>
              <a:gd name="connsiteY202" fmla="*/ 746529 h 6858000"/>
              <a:gd name="connsiteX203" fmla="*/ 11208649 w 12192000"/>
              <a:gd name="connsiteY203" fmla="*/ 748354 h 6858000"/>
              <a:gd name="connsiteX204" fmla="*/ 11209415 w 12192000"/>
              <a:gd name="connsiteY204" fmla="*/ 749157 h 6858000"/>
              <a:gd name="connsiteX205" fmla="*/ 11210547 w 12192000"/>
              <a:gd name="connsiteY205" fmla="*/ 749485 h 6858000"/>
              <a:gd name="connsiteX206" fmla="*/ 11212883 w 12192000"/>
              <a:gd name="connsiteY206" fmla="*/ 748244 h 6858000"/>
              <a:gd name="connsiteX207" fmla="*/ 11216460 w 12192000"/>
              <a:gd name="connsiteY207" fmla="*/ 745470 h 6858000"/>
              <a:gd name="connsiteX208" fmla="*/ 11221825 w 12192000"/>
              <a:gd name="connsiteY208" fmla="*/ 742696 h 6858000"/>
              <a:gd name="connsiteX209" fmla="*/ 11229526 w 12192000"/>
              <a:gd name="connsiteY209" fmla="*/ 741455 h 6858000"/>
              <a:gd name="connsiteX210" fmla="*/ 11240585 w 12192000"/>
              <a:gd name="connsiteY210" fmla="*/ 746127 h 6858000"/>
              <a:gd name="connsiteX211" fmla="*/ 11244308 w 12192000"/>
              <a:gd name="connsiteY211" fmla="*/ 759449 h 6858000"/>
              <a:gd name="connsiteX212" fmla="*/ 11244308 w 12192000"/>
              <a:gd name="connsiteY212" fmla="*/ 765982 h 6858000"/>
              <a:gd name="connsiteX213" fmla="*/ 11226132 w 12192000"/>
              <a:gd name="connsiteY213" fmla="*/ 767734 h 6858000"/>
              <a:gd name="connsiteX214" fmla="*/ 11213759 w 12192000"/>
              <a:gd name="connsiteY214" fmla="*/ 771749 h 6858000"/>
              <a:gd name="connsiteX215" fmla="*/ 11206678 w 12192000"/>
              <a:gd name="connsiteY215" fmla="*/ 777662 h 6858000"/>
              <a:gd name="connsiteX216" fmla="*/ 11204415 w 12192000"/>
              <a:gd name="connsiteY216" fmla="*/ 784998 h 6858000"/>
              <a:gd name="connsiteX217" fmla="*/ 11205838 w 12192000"/>
              <a:gd name="connsiteY217" fmla="*/ 792298 h 6858000"/>
              <a:gd name="connsiteX218" fmla="*/ 11209598 w 12192000"/>
              <a:gd name="connsiteY218" fmla="*/ 797298 h 6858000"/>
              <a:gd name="connsiteX219" fmla="*/ 11214963 w 12192000"/>
              <a:gd name="connsiteY219" fmla="*/ 800181 h 6858000"/>
              <a:gd name="connsiteX220" fmla="*/ 11221168 w 12192000"/>
              <a:gd name="connsiteY220" fmla="*/ 801130 h 6858000"/>
              <a:gd name="connsiteX221" fmla="*/ 11228176 w 12192000"/>
              <a:gd name="connsiteY221" fmla="*/ 800364 h 6858000"/>
              <a:gd name="connsiteX222" fmla="*/ 11234125 w 12192000"/>
              <a:gd name="connsiteY222" fmla="*/ 798247 h 6858000"/>
              <a:gd name="connsiteX223" fmla="*/ 11239417 w 12192000"/>
              <a:gd name="connsiteY223" fmla="*/ 794853 h 6858000"/>
              <a:gd name="connsiteX224" fmla="*/ 11244527 w 12192000"/>
              <a:gd name="connsiteY224" fmla="*/ 790327 h 6858000"/>
              <a:gd name="connsiteX225" fmla="*/ 11245403 w 12192000"/>
              <a:gd name="connsiteY225" fmla="*/ 798357 h 6858000"/>
              <a:gd name="connsiteX226" fmla="*/ 11247739 w 12192000"/>
              <a:gd name="connsiteY226" fmla="*/ 800109 h 6858000"/>
              <a:gd name="connsiteX227" fmla="*/ 11250111 w 12192000"/>
              <a:gd name="connsiteY227" fmla="*/ 800109 h 6858000"/>
              <a:gd name="connsiteX228" fmla="*/ 11250111 w 12192000"/>
              <a:gd name="connsiteY228" fmla="*/ 759449 h 6858000"/>
              <a:gd name="connsiteX229" fmla="*/ 11248870 w 12192000"/>
              <a:gd name="connsiteY229" fmla="*/ 749996 h 6858000"/>
              <a:gd name="connsiteX230" fmla="*/ 11245147 w 12192000"/>
              <a:gd name="connsiteY230" fmla="*/ 742769 h 6858000"/>
              <a:gd name="connsiteX231" fmla="*/ 11238906 w 12192000"/>
              <a:gd name="connsiteY231" fmla="*/ 738207 h 6858000"/>
              <a:gd name="connsiteX232" fmla="*/ 11230110 w 12192000"/>
              <a:gd name="connsiteY232" fmla="*/ 736601 h 6858000"/>
              <a:gd name="connsiteX233" fmla="*/ 11018017 w 12192000"/>
              <a:gd name="connsiteY233" fmla="*/ 736601 h 6858000"/>
              <a:gd name="connsiteX234" fmla="*/ 11005790 w 12192000"/>
              <a:gd name="connsiteY234" fmla="*/ 739119 h 6858000"/>
              <a:gd name="connsiteX235" fmla="*/ 10995497 w 12192000"/>
              <a:gd name="connsiteY235" fmla="*/ 746529 h 6858000"/>
              <a:gd name="connsiteX236" fmla="*/ 10996556 w 12192000"/>
              <a:gd name="connsiteY236" fmla="*/ 748354 h 6858000"/>
              <a:gd name="connsiteX237" fmla="*/ 10997322 w 12192000"/>
              <a:gd name="connsiteY237" fmla="*/ 749157 h 6858000"/>
              <a:gd name="connsiteX238" fmla="*/ 10998454 w 12192000"/>
              <a:gd name="connsiteY238" fmla="*/ 749485 h 6858000"/>
              <a:gd name="connsiteX239" fmla="*/ 11000790 w 12192000"/>
              <a:gd name="connsiteY239" fmla="*/ 748244 h 6858000"/>
              <a:gd name="connsiteX240" fmla="*/ 11004367 w 12192000"/>
              <a:gd name="connsiteY240" fmla="*/ 745470 h 6858000"/>
              <a:gd name="connsiteX241" fmla="*/ 11009732 w 12192000"/>
              <a:gd name="connsiteY241" fmla="*/ 742696 h 6858000"/>
              <a:gd name="connsiteX242" fmla="*/ 11017433 w 12192000"/>
              <a:gd name="connsiteY242" fmla="*/ 741455 h 6858000"/>
              <a:gd name="connsiteX243" fmla="*/ 11028492 w 12192000"/>
              <a:gd name="connsiteY243" fmla="*/ 746127 h 6858000"/>
              <a:gd name="connsiteX244" fmla="*/ 11032215 w 12192000"/>
              <a:gd name="connsiteY244" fmla="*/ 759449 h 6858000"/>
              <a:gd name="connsiteX245" fmla="*/ 11032215 w 12192000"/>
              <a:gd name="connsiteY245" fmla="*/ 765982 h 6858000"/>
              <a:gd name="connsiteX246" fmla="*/ 11014039 w 12192000"/>
              <a:gd name="connsiteY246" fmla="*/ 767734 h 6858000"/>
              <a:gd name="connsiteX247" fmla="*/ 11001666 w 12192000"/>
              <a:gd name="connsiteY247" fmla="*/ 771749 h 6858000"/>
              <a:gd name="connsiteX248" fmla="*/ 10994585 w 12192000"/>
              <a:gd name="connsiteY248" fmla="*/ 777662 h 6858000"/>
              <a:gd name="connsiteX249" fmla="*/ 10992322 w 12192000"/>
              <a:gd name="connsiteY249" fmla="*/ 784998 h 6858000"/>
              <a:gd name="connsiteX250" fmla="*/ 10993745 w 12192000"/>
              <a:gd name="connsiteY250" fmla="*/ 792298 h 6858000"/>
              <a:gd name="connsiteX251" fmla="*/ 10997505 w 12192000"/>
              <a:gd name="connsiteY251" fmla="*/ 797298 h 6858000"/>
              <a:gd name="connsiteX252" fmla="*/ 11002870 w 12192000"/>
              <a:gd name="connsiteY252" fmla="*/ 800181 h 6858000"/>
              <a:gd name="connsiteX253" fmla="*/ 11009075 w 12192000"/>
              <a:gd name="connsiteY253" fmla="*/ 801130 h 6858000"/>
              <a:gd name="connsiteX254" fmla="*/ 11016083 w 12192000"/>
              <a:gd name="connsiteY254" fmla="*/ 800364 h 6858000"/>
              <a:gd name="connsiteX255" fmla="*/ 11022032 w 12192000"/>
              <a:gd name="connsiteY255" fmla="*/ 798247 h 6858000"/>
              <a:gd name="connsiteX256" fmla="*/ 11027324 w 12192000"/>
              <a:gd name="connsiteY256" fmla="*/ 794853 h 6858000"/>
              <a:gd name="connsiteX257" fmla="*/ 11032434 w 12192000"/>
              <a:gd name="connsiteY257" fmla="*/ 790327 h 6858000"/>
              <a:gd name="connsiteX258" fmla="*/ 11033310 w 12192000"/>
              <a:gd name="connsiteY258" fmla="*/ 798357 h 6858000"/>
              <a:gd name="connsiteX259" fmla="*/ 11035646 w 12192000"/>
              <a:gd name="connsiteY259" fmla="*/ 800109 h 6858000"/>
              <a:gd name="connsiteX260" fmla="*/ 11038018 w 12192000"/>
              <a:gd name="connsiteY260" fmla="*/ 800109 h 6858000"/>
              <a:gd name="connsiteX261" fmla="*/ 11038018 w 12192000"/>
              <a:gd name="connsiteY261" fmla="*/ 759449 h 6858000"/>
              <a:gd name="connsiteX262" fmla="*/ 11036777 w 12192000"/>
              <a:gd name="connsiteY262" fmla="*/ 749996 h 6858000"/>
              <a:gd name="connsiteX263" fmla="*/ 11033054 w 12192000"/>
              <a:gd name="connsiteY263" fmla="*/ 742769 h 6858000"/>
              <a:gd name="connsiteX264" fmla="*/ 11026813 w 12192000"/>
              <a:gd name="connsiteY264" fmla="*/ 738207 h 6858000"/>
              <a:gd name="connsiteX265" fmla="*/ 11018017 w 12192000"/>
              <a:gd name="connsiteY265" fmla="*/ 736601 h 6858000"/>
              <a:gd name="connsiteX266" fmla="*/ 11832117 w 12192000"/>
              <a:gd name="connsiteY266" fmla="*/ 734703 h 6858000"/>
              <a:gd name="connsiteX267" fmla="*/ 11826824 w 12192000"/>
              <a:gd name="connsiteY267" fmla="*/ 735360 h 6858000"/>
              <a:gd name="connsiteX268" fmla="*/ 11822299 w 12192000"/>
              <a:gd name="connsiteY268" fmla="*/ 737148 h 6858000"/>
              <a:gd name="connsiteX269" fmla="*/ 11818357 w 12192000"/>
              <a:gd name="connsiteY269" fmla="*/ 739849 h 6858000"/>
              <a:gd name="connsiteX270" fmla="*/ 11814816 w 12192000"/>
              <a:gd name="connsiteY270" fmla="*/ 743317 h 6858000"/>
              <a:gd name="connsiteX271" fmla="*/ 11813794 w 12192000"/>
              <a:gd name="connsiteY271" fmla="*/ 738535 h 6858000"/>
              <a:gd name="connsiteX272" fmla="*/ 11809853 w 12192000"/>
              <a:gd name="connsiteY272" fmla="*/ 735725 h 6858000"/>
              <a:gd name="connsiteX273" fmla="*/ 11800363 w 12192000"/>
              <a:gd name="connsiteY273" fmla="*/ 735725 h 6858000"/>
              <a:gd name="connsiteX274" fmla="*/ 11800363 w 12192000"/>
              <a:gd name="connsiteY274" fmla="*/ 800072 h 6858000"/>
              <a:gd name="connsiteX275" fmla="*/ 11800363 w 12192000"/>
              <a:gd name="connsiteY275" fmla="*/ 800181 h 6858000"/>
              <a:gd name="connsiteX276" fmla="*/ 11815911 w 12192000"/>
              <a:gd name="connsiteY276" fmla="*/ 800181 h 6858000"/>
              <a:gd name="connsiteX277" fmla="*/ 11815911 w 12192000"/>
              <a:gd name="connsiteY277" fmla="*/ 753062 h 6858000"/>
              <a:gd name="connsiteX278" fmla="*/ 11821350 w 12192000"/>
              <a:gd name="connsiteY278" fmla="*/ 748499 h 6858000"/>
              <a:gd name="connsiteX279" fmla="*/ 11827664 w 12192000"/>
              <a:gd name="connsiteY279" fmla="*/ 746821 h 6858000"/>
              <a:gd name="connsiteX280" fmla="*/ 11835292 w 12192000"/>
              <a:gd name="connsiteY280" fmla="*/ 749777 h 6858000"/>
              <a:gd name="connsiteX281" fmla="*/ 11837884 w 12192000"/>
              <a:gd name="connsiteY281" fmla="*/ 759194 h 6858000"/>
              <a:gd name="connsiteX282" fmla="*/ 11837884 w 12192000"/>
              <a:gd name="connsiteY282" fmla="*/ 800145 h 6858000"/>
              <a:gd name="connsiteX283" fmla="*/ 11853432 w 12192000"/>
              <a:gd name="connsiteY283" fmla="*/ 800145 h 6858000"/>
              <a:gd name="connsiteX284" fmla="*/ 11853432 w 12192000"/>
              <a:gd name="connsiteY284" fmla="*/ 759194 h 6858000"/>
              <a:gd name="connsiteX285" fmla="*/ 11854308 w 12192000"/>
              <a:gd name="connsiteY285" fmla="*/ 753865 h 6858000"/>
              <a:gd name="connsiteX286" fmla="*/ 11856717 w 12192000"/>
              <a:gd name="connsiteY286" fmla="*/ 749996 h 6858000"/>
              <a:gd name="connsiteX287" fmla="*/ 11860294 w 12192000"/>
              <a:gd name="connsiteY287" fmla="*/ 747660 h 6858000"/>
              <a:gd name="connsiteX288" fmla="*/ 11864710 w 12192000"/>
              <a:gd name="connsiteY288" fmla="*/ 746857 h 6858000"/>
              <a:gd name="connsiteX289" fmla="*/ 11872630 w 12192000"/>
              <a:gd name="connsiteY289" fmla="*/ 749959 h 6858000"/>
              <a:gd name="connsiteX290" fmla="*/ 11875331 w 12192000"/>
              <a:gd name="connsiteY290" fmla="*/ 759194 h 6858000"/>
              <a:gd name="connsiteX291" fmla="*/ 11875331 w 12192000"/>
              <a:gd name="connsiteY291" fmla="*/ 800145 h 6858000"/>
              <a:gd name="connsiteX292" fmla="*/ 11890806 w 12192000"/>
              <a:gd name="connsiteY292" fmla="*/ 800145 h 6858000"/>
              <a:gd name="connsiteX293" fmla="*/ 11890806 w 12192000"/>
              <a:gd name="connsiteY293" fmla="*/ 759194 h 6858000"/>
              <a:gd name="connsiteX294" fmla="*/ 11889346 w 12192000"/>
              <a:gd name="connsiteY294" fmla="*/ 748828 h 6858000"/>
              <a:gd name="connsiteX295" fmla="*/ 11885040 w 12192000"/>
              <a:gd name="connsiteY295" fmla="*/ 741163 h 6858000"/>
              <a:gd name="connsiteX296" fmla="*/ 11878068 w 12192000"/>
              <a:gd name="connsiteY296" fmla="*/ 736382 h 6858000"/>
              <a:gd name="connsiteX297" fmla="*/ 11868579 w 12192000"/>
              <a:gd name="connsiteY297" fmla="*/ 734740 h 6858000"/>
              <a:gd name="connsiteX298" fmla="*/ 11862447 w 12192000"/>
              <a:gd name="connsiteY298" fmla="*/ 735433 h 6858000"/>
              <a:gd name="connsiteX299" fmla="*/ 11856717 w 12192000"/>
              <a:gd name="connsiteY299" fmla="*/ 737550 h 6858000"/>
              <a:gd name="connsiteX300" fmla="*/ 11851753 w 12192000"/>
              <a:gd name="connsiteY300" fmla="*/ 741273 h 6858000"/>
              <a:gd name="connsiteX301" fmla="*/ 11847994 w 12192000"/>
              <a:gd name="connsiteY301" fmla="*/ 746748 h 6858000"/>
              <a:gd name="connsiteX302" fmla="*/ 11842117 w 12192000"/>
              <a:gd name="connsiteY302" fmla="*/ 737988 h 6858000"/>
              <a:gd name="connsiteX303" fmla="*/ 11832117 w 12192000"/>
              <a:gd name="connsiteY303" fmla="*/ 734703 h 6858000"/>
              <a:gd name="connsiteX304" fmla="*/ 11727038 w 12192000"/>
              <a:gd name="connsiteY304" fmla="*/ 734703 h 6858000"/>
              <a:gd name="connsiteX305" fmla="*/ 11721745 w 12192000"/>
              <a:gd name="connsiteY305" fmla="*/ 735360 h 6858000"/>
              <a:gd name="connsiteX306" fmla="*/ 11717220 w 12192000"/>
              <a:gd name="connsiteY306" fmla="*/ 737148 h 6858000"/>
              <a:gd name="connsiteX307" fmla="*/ 11713278 w 12192000"/>
              <a:gd name="connsiteY307" fmla="*/ 739849 h 6858000"/>
              <a:gd name="connsiteX308" fmla="*/ 11709737 w 12192000"/>
              <a:gd name="connsiteY308" fmla="*/ 743317 h 6858000"/>
              <a:gd name="connsiteX309" fmla="*/ 11708715 w 12192000"/>
              <a:gd name="connsiteY309" fmla="*/ 738535 h 6858000"/>
              <a:gd name="connsiteX310" fmla="*/ 11704774 w 12192000"/>
              <a:gd name="connsiteY310" fmla="*/ 735725 h 6858000"/>
              <a:gd name="connsiteX311" fmla="*/ 11695284 w 12192000"/>
              <a:gd name="connsiteY311" fmla="*/ 735725 h 6858000"/>
              <a:gd name="connsiteX312" fmla="*/ 11695284 w 12192000"/>
              <a:gd name="connsiteY312" fmla="*/ 800072 h 6858000"/>
              <a:gd name="connsiteX313" fmla="*/ 11695284 w 12192000"/>
              <a:gd name="connsiteY313" fmla="*/ 800181 h 6858000"/>
              <a:gd name="connsiteX314" fmla="*/ 11710832 w 12192000"/>
              <a:gd name="connsiteY314" fmla="*/ 800181 h 6858000"/>
              <a:gd name="connsiteX315" fmla="*/ 11710832 w 12192000"/>
              <a:gd name="connsiteY315" fmla="*/ 753062 h 6858000"/>
              <a:gd name="connsiteX316" fmla="*/ 11716271 w 12192000"/>
              <a:gd name="connsiteY316" fmla="*/ 748499 h 6858000"/>
              <a:gd name="connsiteX317" fmla="*/ 11722585 w 12192000"/>
              <a:gd name="connsiteY317" fmla="*/ 746821 h 6858000"/>
              <a:gd name="connsiteX318" fmla="*/ 11730213 w 12192000"/>
              <a:gd name="connsiteY318" fmla="*/ 749777 h 6858000"/>
              <a:gd name="connsiteX319" fmla="*/ 11732805 w 12192000"/>
              <a:gd name="connsiteY319" fmla="*/ 759194 h 6858000"/>
              <a:gd name="connsiteX320" fmla="*/ 11732805 w 12192000"/>
              <a:gd name="connsiteY320" fmla="*/ 800145 h 6858000"/>
              <a:gd name="connsiteX321" fmla="*/ 11748353 w 12192000"/>
              <a:gd name="connsiteY321" fmla="*/ 800145 h 6858000"/>
              <a:gd name="connsiteX322" fmla="*/ 11748353 w 12192000"/>
              <a:gd name="connsiteY322" fmla="*/ 759194 h 6858000"/>
              <a:gd name="connsiteX323" fmla="*/ 11749229 w 12192000"/>
              <a:gd name="connsiteY323" fmla="*/ 753865 h 6858000"/>
              <a:gd name="connsiteX324" fmla="*/ 11751638 w 12192000"/>
              <a:gd name="connsiteY324" fmla="*/ 749996 h 6858000"/>
              <a:gd name="connsiteX325" fmla="*/ 11755215 w 12192000"/>
              <a:gd name="connsiteY325" fmla="*/ 747660 h 6858000"/>
              <a:gd name="connsiteX326" fmla="*/ 11759631 w 12192000"/>
              <a:gd name="connsiteY326" fmla="*/ 746857 h 6858000"/>
              <a:gd name="connsiteX327" fmla="*/ 11767551 w 12192000"/>
              <a:gd name="connsiteY327" fmla="*/ 749959 h 6858000"/>
              <a:gd name="connsiteX328" fmla="*/ 11770252 w 12192000"/>
              <a:gd name="connsiteY328" fmla="*/ 759194 h 6858000"/>
              <a:gd name="connsiteX329" fmla="*/ 11770252 w 12192000"/>
              <a:gd name="connsiteY329" fmla="*/ 800145 h 6858000"/>
              <a:gd name="connsiteX330" fmla="*/ 11785727 w 12192000"/>
              <a:gd name="connsiteY330" fmla="*/ 800145 h 6858000"/>
              <a:gd name="connsiteX331" fmla="*/ 11785727 w 12192000"/>
              <a:gd name="connsiteY331" fmla="*/ 759194 h 6858000"/>
              <a:gd name="connsiteX332" fmla="*/ 11784267 w 12192000"/>
              <a:gd name="connsiteY332" fmla="*/ 748828 h 6858000"/>
              <a:gd name="connsiteX333" fmla="*/ 11779961 w 12192000"/>
              <a:gd name="connsiteY333" fmla="*/ 741163 h 6858000"/>
              <a:gd name="connsiteX334" fmla="*/ 11772989 w 12192000"/>
              <a:gd name="connsiteY334" fmla="*/ 736382 h 6858000"/>
              <a:gd name="connsiteX335" fmla="*/ 11763500 w 12192000"/>
              <a:gd name="connsiteY335" fmla="*/ 734740 h 6858000"/>
              <a:gd name="connsiteX336" fmla="*/ 11757368 w 12192000"/>
              <a:gd name="connsiteY336" fmla="*/ 735433 h 6858000"/>
              <a:gd name="connsiteX337" fmla="*/ 11751638 w 12192000"/>
              <a:gd name="connsiteY337" fmla="*/ 737550 h 6858000"/>
              <a:gd name="connsiteX338" fmla="*/ 11746674 w 12192000"/>
              <a:gd name="connsiteY338" fmla="*/ 741273 h 6858000"/>
              <a:gd name="connsiteX339" fmla="*/ 11742915 w 12192000"/>
              <a:gd name="connsiteY339" fmla="*/ 746748 h 6858000"/>
              <a:gd name="connsiteX340" fmla="*/ 11737038 w 12192000"/>
              <a:gd name="connsiteY340" fmla="*/ 737988 h 6858000"/>
              <a:gd name="connsiteX341" fmla="*/ 11727038 w 12192000"/>
              <a:gd name="connsiteY341" fmla="*/ 734703 h 6858000"/>
              <a:gd name="connsiteX342" fmla="*/ 11656814 w 12192000"/>
              <a:gd name="connsiteY342" fmla="*/ 734557 h 6858000"/>
              <a:gd name="connsiteX343" fmla="*/ 11630097 w 12192000"/>
              <a:gd name="connsiteY343" fmla="*/ 744704 h 6858000"/>
              <a:gd name="connsiteX344" fmla="*/ 11632725 w 12192000"/>
              <a:gd name="connsiteY344" fmla="*/ 749740 h 6858000"/>
              <a:gd name="connsiteX345" fmla="*/ 11634550 w 12192000"/>
              <a:gd name="connsiteY345" fmla="*/ 751711 h 6858000"/>
              <a:gd name="connsiteX346" fmla="*/ 11637324 w 12192000"/>
              <a:gd name="connsiteY346" fmla="*/ 752551 h 6858000"/>
              <a:gd name="connsiteX347" fmla="*/ 11640755 w 12192000"/>
              <a:gd name="connsiteY347" fmla="*/ 751675 h 6858000"/>
              <a:gd name="connsiteX348" fmla="*/ 11644186 w 12192000"/>
              <a:gd name="connsiteY348" fmla="*/ 749704 h 6858000"/>
              <a:gd name="connsiteX349" fmla="*/ 11648529 w 12192000"/>
              <a:gd name="connsiteY349" fmla="*/ 747733 h 6858000"/>
              <a:gd name="connsiteX350" fmla="*/ 11654770 w 12192000"/>
              <a:gd name="connsiteY350" fmla="*/ 746857 h 6858000"/>
              <a:gd name="connsiteX351" fmla="*/ 11662727 w 12192000"/>
              <a:gd name="connsiteY351" fmla="*/ 749959 h 6858000"/>
              <a:gd name="connsiteX352" fmla="*/ 11665501 w 12192000"/>
              <a:gd name="connsiteY352" fmla="*/ 759522 h 6858000"/>
              <a:gd name="connsiteX353" fmla="*/ 11665501 w 12192000"/>
              <a:gd name="connsiteY353" fmla="*/ 763281 h 6858000"/>
              <a:gd name="connsiteX354" fmla="*/ 11652471 w 12192000"/>
              <a:gd name="connsiteY354" fmla="*/ 764376 h 6858000"/>
              <a:gd name="connsiteX355" fmla="*/ 11642470 w 12192000"/>
              <a:gd name="connsiteY355" fmla="*/ 766712 h 6858000"/>
              <a:gd name="connsiteX356" fmla="*/ 11635244 w 12192000"/>
              <a:gd name="connsiteY356" fmla="*/ 770107 h 6858000"/>
              <a:gd name="connsiteX357" fmla="*/ 11630462 w 12192000"/>
              <a:gd name="connsiteY357" fmla="*/ 774231 h 6858000"/>
              <a:gd name="connsiteX358" fmla="*/ 11627798 w 12192000"/>
              <a:gd name="connsiteY358" fmla="*/ 778830 h 6858000"/>
              <a:gd name="connsiteX359" fmla="*/ 11626995 w 12192000"/>
              <a:gd name="connsiteY359" fmla="*/ 783684 h 6858000"/>
              <a:gd name="connsiteX360" fmla="*/ 11628382 w 12192000"/>
              <a:gd name="connsiteY360" fmla="*/ 791276 h 6858000"/>
              <a:gd name="connsiteX361" fmla="*/ 11632287 w 12192000"/>
              <a:gd name="connsiteY361" fmla="*/ 796751 h 6858000"/>
              <a:gd name="connsiteX362" fmla="*/ 11638237 w 12192000"/>
              <a:gd name="connsiteY362" fmla="*/ 800035 h 6858000"/>
              <a:gd name="connsiteX363" fmla="*/ 11645755 w 12192000"/>
              <a:gd name="connsiteY363" fmla="*/ 801130 h 6858000"/>
              <a:gd name="connsiteX364" fmla="*/ 11652070 w 12192000"/>
              <a:gd name="connsiteY364" fmla="*/ 800546 h 6858000"/>
              <a:gd name="connsiteX365" fmla="*/ 11657435 w 12192000"/>
              <a:gd name="connsiteY365" fmla="*/ 798831 h 6858000"/>
              <a:gd name="connsiteX366" fmla="*/ 11662253 w 12192000"/>
              <a:gd name="connsiteY366" fmla="*/ 796057 h 6858000"/>
              <a:gd name="connsiteX367" fmla="*/ 11667034 w 12192000"/>
              <a:gd name="connsiteY367" fmla="*/ 792188 h 6858000"/>
              <a:gd name="connsiteX368" fmla="*/ 11668421 w 12192000"/>
              <a:gd name="connsiteY368" fmla="*/ 796824 h 6858000"/>
              <a:gd name="connsiteX369" fmla="*/ 11670319 w 12192000"/>
              <a:gd name="connsiteY369" fmla="*/ 799488 h 6858000"/>
              <a:gd name="connsiteX370" fmla="*/ 11673713 w 12192000"/>
              <a:gd name="connsiteY370" fmla="*/ 800145 h 6858000"/>
              <a:gd name="connsiteX371" fmla="*/ 11680721 w 12192000"/>
              <a:gd name="connsiteY371" fmla="*/ 800145 h 6858000"/>
              <a:gd name="connsiteX372" fmla="*/ 11680721 w 12192000"/>
              <a:gd name="connsiteY372" fmla="*/ 759485 h 6858000"/>
              <a:gd name="connsiteX373" fmla="*/ 11679115 w 12192000"/>
              <a:gd name="connsiteY373" fmla="*/ 749448 h 6858000"/>
              <a:gd name="connsiteX374" fmla="*/ 11674443 w 12192000"/>
              <a:gd name="connsiteY374" fmla="*/ 741565 h 6858000"/>
              <a:gd name="connsiteX375" fmla="*/ 11666924 w 12192000"/>
              <a:gd name="connsiteY375" fmla="*/ 736418 h 6858000"/>
              <a:gd name="connsiteX376" fmla="*/ 11656814 w 12192000"/>
              <a:gd name="connsiteY376" fmla="*/ 734557 h 6858000"/>
              <a:gd name="connsiteX377" fmla="*/ 11525784 w 12192000"/>
              <a:gd name="connsiteY377" fmla="*/ 716089 h 6858000"/>
              <a:gd name="connsiteX378" fmla="*/ 11523521 w 12192000"/>
              <a:gd name="connsiteY378" fmla="*/ 716782 h 6858000"/>
              <a:gd name="connsiteX379" fmla="*/ 11522317 w 12192000"/>
              <a:gd name="connsiteY379" fmla="*/ 718717 h 6858000"/>
              <a:gd name="connsiteX380" fmla="*/ 11519069 w 12192000"/>
              <a:gd name="connsiteY380" fmla="*/ 736273 h 6858000"/>
              <a:gd name="connsiteX381" fmla="*/ 11508703 w 12192000"/>
              <a:gd name="connsiteY381" fmla="*/ 737952 h 6858000"/>
              <a:gd name="connsiteX382" fmla="*/ 11508703 w 12192000"/>
              <a:gd name="connsiteY382" fmla="*/ 744083 h 6858000"/>
              <a:gd name="connsiteX383" fmla="*/ 11509579 w 12192000"/>
              <a:gd name="connsiteY383" fmla="*/ 746529 h 6858000"/>
              <a:gd name="connsiteX384" fmla="*/ 11511696 w 12192000"/>
              <a:gd name="connsiteY384" fmla="*/ 747332 h 6858000"/>
              <a:gd name="connsiteX385" fmla="*/ 11518266 w 12192000"/>
              <a:gd name="connsiteY385" fmla="*/ 747332 h 6858000"/>
              <a:gd name="connsiteX386" fmla="*/ 11518266 w 12192000"/>
              <a:gd name="connsiteY386" fmla="*/ 783283 h 6858000"/>
              <a:gd name="connsiteX387" fmla="*/ 11522755 w 12192000"/>
              <a:gd name="connsiteY387" fmla="*/ 796349 h 6858000"/>
              <a:gd name="connsiteX388" fmla="*/ 11535639 w 12192000"/>
              <a:gd name="connsiteY388" fmla="*/ 801094 h 6858000"/>
              <a:gd name="connsiteX389" fmla="*/ 11544764 w 12192000"/>
              <a:gd name="connsiteY389" fmla="*/ 799671 h 6858000"/>
              <a:gd name="connsiteX390" fmla="*/ 11552538 w 12192000"/>
              <a:gd name="connsiteY390" fmla="*/ 795400 h 6858000"/>
              <a:gd name="connsiteX391" fmla="*/ 11547902 w 12192000"/>
              <a:gd name="connsiteY391" fmla="*/ 787882 h 6858000"/>
              <a:gd name="connsiteX392" fmla="*/ 11546953 w 12192000"/>
              <a:gd name="connsiteY392" fmla="*/ 786860 h 6858000"/>
              <a:gd name="connsiteX393" fmla="*/ 11545822 w 12192000"/>
              <a:gd name="connsiteY393" fmla="*/ 786531 h 6858000"/>
              <a:gd name="connsiteX394" fmla="*/ 11544691 w 12192000"/>
              <a:gd name="connsiteY394" fmla="*/ 786860 h 6858000"/>
              <a:gd name="connsiteX395" fmla="*/ 11543413 w 12192000"/>
              <a:gd name="connsiteY395" fmla="*/ 787590 h 6858000"/>
              <a:gd name="connsiteX396" fmla="*/ 11541734 w 12192000"/>
              <a:gd name="connsiteY396" fmla="*/ 788320 h 6858000"/>
              <a:gd name="connsiteX397" fmla="*/ 11539325 w 12192000"/>
              <a:gd name="connsiteY397" fmla="*/ 788648 h 6858000"/>
              <a:gd name="connsiteX398" fmla="*/ 11535274 w 12192000"/>
              <a:gd name="connsiteY398" fmla="*/ 786969 h 6858000"/>
              <a:gd name="connsiteX399" fmla="*/ 11533814 w 12192000"/>
              <a:gd name="connsiteY399" fmla="*/ 782261 h 6858000"/>
              <a:gd name="connsiteX400" fmla="*/ 11533814 w 12192000"/>
              <a:gd name="connsiteY400" fmla="*/ 747368 h 6858000"/>
              <a:gd name="connsiteX401" fmla="*/ 11551005 w 12192000"/>
              <a:gd name="connsiteY401" fmla="*/ 747368 h 6858000"/>
              <a:gd name="connsiteX402" fmla="*/ 11551005 w 12192000"/>
              <a:gd name="connsiteY402" fmla="*/ 736346 h 6858000"/>
              <a:gd name="connsiteX403" fmla="*/ 11533814 w 12192000"/>
              <a:gd name="connsiteY403" fmla="*/ 736346 h 6858000"/>
              <a:gd name="connsiteX404" fmla="*/ 11533814 w 12192000"/>
              <a:gd name="connsiteY404" fmla="*/ 716089 h 6858000"/>
              <a:gd name="connsiteX405" fmla="*/ 11381688 w 12192000"/>
              <a:gd name="connsiteY405" fmla="*/ 708826 h 6858000"/>
              <a:gd name="connsiteX406" fmla="*/ 11381688 w 12192000"/>
              <a:gd name="connsiteY406" fmla="*/ 745836 h 6858000"/>
              <a:gd name="connsiteX407" fmla="*/ 11373585 w 12192000"/>
              <a:gd name="connsiteY407" fmla="*/ 738937 h 6858000"/>
              <a:gd name="connsiteX408" fmla="*/ 11362599 w 12192000"/>
              <a:gd name="connsiteY408" fmla="*/ 736601 h 6858000"/>
              <a:gd name="connsiteX409" fmla="*/ 11350956 w 12192000"/>
              <a:gd name="connsiteY409" fmla="*/ 739120 h 6858000"/>
              <a:gd name="connsiteX410" fmla="*/ 11342452 w 12192000"/>
              <a:gd name="connsiteY410" fmla="*/ 745982 h 6858000"/>
              <a:gd name="connsiteX411" fmla="*/ 11337196 w 12192000"/>
              <a:gd name="connsiteY411" fmla="*/ 756274 h 6858000"/>
              <a:gd name="connsiteX412" fmla="*/ 11335408 w 12192000"/>
              <a:gd name="connsiteY412" fmla="*/ 769049 h 6858000"/>
              <a:gd name="connsiteX413" fmla="*/ 11341795 w 12192000"/>
              <a:gd name="connsiteY413" fmla="*/ 792955 h 6858000"/>
              <a:gd name="connsiteX414" fmla="*/ 11359753 w 12192000"/>
              <a:gd name="connsiteY414" fmla="*/ 800912 h 6858000"/>
              <a:gd name="connsiteX415" fmla="*/ 11372162 w 12192000"/>
              <a:gd name="connsiteY415" fmla="*/ 797591 h 6858000"/>
              <a:gd name="connsiteX416" fmla="*/ 11381834 w 12192000"/>
              <a:gd name="connsiteY416" fmla="*/ 788612 h 6858000"/>
              <a:gd name="connsiteX417" fmla="*/ 11382455 w 12192000"/>
              <a:gd name="connsiteY417" fmla="*/ 798466 h 6858000"/>
              <a:gd name="connsiteX418" fmla="*/ 11384353 w 12192000"/>
              <a:gd name="connsiteY418" fmla="*/ 800109 h 6858000"/>
              <a:gd name="connsiteX419" fmla="*/ 11387601 w 12192000"/>
              <a:gd name="connsiteY419" fmla="*/ 800109 h 6858000"/>
              <a:gd name="connsiteX420" fmla="*/ 11387601 w 12192000"/>
              <a:gd name="connsiteY420" fmla="*/ 708826 h 6858000"/>
              <a:gd name="connsiteX421" fmla="*/ 11058530 w 12192000"/>
              <a:gd name="connsiteY421" fmla="*/ 708826 h 6858000"/>
              <a:gd name="connsiteX422" fmla="*/ 11058530 w 12192000"/>
              <a:gd name="connsiteY422" fmla="*/ 800109 h 6858000"/>
              <a:gd name="connsiteX423" fmla="*/ 11064552 w 12192000"/>
              <a:gd name="connsiteY423" fmla="*/ 800109 h 6858000"/>
              <a:gd name="connsiteX424" fmla="*/ 11064552 w 12192000"/>
              <a:gd name="connsiteY424" fmla="*/ 708826 h 6858000"/>
              <a:gd name="connsiteX425" fmla="*/ 11560896 w 12192000"/>
              <a:gd name="connsiteY425" fmla="*/ 706855 h 6858000"/>
              <a:gd name="connsiteX426" fmla="*/ 11560896 w 12192000"/>
              <a:gd name="connsiteY426" fmla="*/ 800072 h 6858000"/>
              <a:gd name="connsiteX427" fmla="*/ 11576371 w 12192000"/>
              <a:gd name="connsiteY427" fmla="*/ 800072 h 6858000"/>
              <a:gd name="connsiteX428" fmla="*/ 11576371 w 12192000"/>
              <a:gd name="connsiteY428" fmla="*/ 753537 h 6858000"/>
              <a:gd name="connsiteX429" fmla="*/ 11583014 w 12192000"/>
              <a:gd name="connsiteY429" fmla="*/ 748573 h 6858000"/>
              <a:gd name="connsiteX430" fmla="*/ 11590533 w 12192000"/>
              <a:gd name="connsiteY430" fmla="*/ 746748 h 6858000"/>
              <a:gd name="connsiteX431" fmla="*/ 11598745 w 12192000"/>
              <a:gd name="connsiteY431" fmla="*/ 749996 h 6858000"/>
              <a:gd name="connsiteX432" fmla="*/ 11601446 w 12192000"/>
              <a:gd name="connsiteY432" fmla="*/ 759121 h 6858000"/>
              <a:gd name="connsiteX433" fmla="*/ 11601446 w 12192000"/>
              <a:gd name="connsiteY433" fmla="*/ 800072 h 6858000"/>
              <a:gd name="connsiteX434" fmla="*/ 11616921 w 12192000"/>
              <a:gd name="connsiteY434" fmla="*/ 800072 h 6858000"/>
              <a:gd name="connsiteX435" fmla="*/ 11616921 w 12192000"/>
              <a:gd name="connsiteY435" fmla="*/ 759121 h 6858000"/>
              <a:gd name="connsiteX436" fmla="*/ 11615498 w 12192000"/>
              <a:gd name="connsiteY436" fmla="*/ 749230 h 6858000"/>
              <a:gd name="connsiteX437" fmla="*/ 11611373 w 12192000"/>
              <a:gd name="connsiteY437" fmla="*/ 741529 h 6858000"/>
              <a:gd name="connsiteX438" fmla="*/ 11604585 w 12192000"/>
              <a:gd name="connsiteY438" fmla="*/ 736528 h 6858000"/>
              <a:gd name="connsiteX439" fmla="*/ 11595241 w 12192000"/>
              <a:gd name="connsiteY439" fmla="*/ 734740 h 6858000"/>
              <a:gd name="connsiteX440" fmla="*/ 11584657 w 12192000"/>
              <a:gd name="connsiteY440" fmla="*/ 736930 h 6858000"/>
              <a:gd name="connsiteX441" fmla="*/ 11576371 w 12192000"/>
              <a:gd name="connsiteY441" fmla="*/ 742624 h 6858000"/>
              <a:gd name="connsiteX442" fmla="*/ 11576371 w 12192000"/>
              <a:gd name="connsiteY442" fmla="*/ 706855 h 6858000"/>
              <a:gd name="connsiteX443" fmla="*/ 11321539 w 12192000"/>
              <a:gd name="connsiteY443" fmla="*/ 434247 h 6858000"/>
              <a:gd name="connsiteX444" fmla="*/ 11348438 w 12192000"/>
              <a:gd name="connsiteY444" fmla="*/ 434247 h 6858000"/>
              <a:gd name="connsiteX445" fmla="*/ 11348438 w 12192000"/>
              <a:gd name="connsiteY445" fmla="*/ 438846 h 6858000"/>
              <a:gd name="connsiteX446" fmla="*/ 11333730 w 12192000"/>
              <a:gd name="connsiteY446" fmla="*/ 494871 h 6858000"/>
              <a:gd name="connsiteX447" fmla="*/ 11292340 w 12192000"/>
              <a:gd name="connsiteY447" fmla="*/ 514909 h 6858000"/>
              <a:gd name="connsiteX448" fmla="*/ 11264273 w 12192000"/>
              <a:gd name="connsiteY448" fmla="*/ 504616 h 6858000"/>
              <a:gd name="connsiteX449" fmla="*/ 11253907 w 12192000"/>
              <a:gd name="connsiteY449" fmla="*/ 476877 h 6858000"/>
              <a:gd name="connsiteX450" fmla="*/ 11268872 w 12192000"/>
              <a:gd name="connsiteY450" fmla="*/ 443883 h 6858000"/>
              <a:gd name="connsiteX451" fmla="*/ 11321539 w 12192000"/>
              <a:gd name="connsiteY451" fmla="*/ 434247 h 6858000"/>
              <a:gd name="connsiteX452" fmla="*/ 11301684 w 12192000"/>
              <a:gd name="connsiteY452" fmla="*/ 291866 h 6858000"/>
              <a:gd name="connsiteX453" fmla="*/ 11253068 w 12192000"/>
              <a:gd name="connsiteY453" fmla="*/ 296209 h 6858000"/>
              <a:gd name="connsiteX454" fmla="*/ 11207882 w 12192000"/>
              <a:gd name="connsiteY454" fmla="*/ 309750 h 6858000"/>
              <a:gd name="connsiteX455" fmla="*/ 11207882 w 12192000"/>
              <a:gd name="connsiteY455" fmla="*/ 367053 h 6858000"/>
              <a:gd name="connsiteX456" fmla="*/ 11255039 w 12192000"/>
              <a:gd name="connsiteY456" fmla="*/ 347599 h 6858000"/>
              <a:gd name="connsiteX457" fmla="*/ 11301720 w 12192000"/>
              <a:gd name="connsiteY457" fmla="*/ 341504 h 6858000"/>
              <a:gd name="connsiteX458" fmla="*/ 11336576 w 12192000"/>
              <a:gd name="connsiteY458" fmla="*/ 349899 h 6858000"/>
              <a:gd name="connsiteX459" fmla="*/ 11348438 w 12192000"/>
              <a:gd name="connsiteY459" fmla="*/ 374572 h 6858000"/>
              <a:gd name="connsiteX460" fmla="*/ 11348438 w 12192000"/>
              <a:gd name="connsiteY460" fmla="*/ 385667 h 6858000"/>
              <a:gd name="connsiteX461" fmla="*/ 11301757 w 12192000"/>
              <a:gd name="connsiteY461" fmla="*/ 385667 h 6858000"/>
              <a:gd name="connsiteX462" fmla="*/ 11211532 w 12192000"/>
              <a:gd name="connsiteY462" fmla="*/ 407128 h 6858000"/>
              <a:gd name="connsiteX463" fmla="*/ 11182370 w 12192000"/>
              <a:gd name="connsiteY463" fmla="*/ 473629 h 6858000"/>
              <a:gd name="connsiteX464" fmla="*/ 11206824 w 12192000"/>
              <a:gd name="connsiteY464" fmla="*/ 538414 h 6858000"/>
              <a:gd name="connsiteX465" fmla="*/ 11275149 w 12192000"/>
              <a:gd name="connsiteY465" fmla="*/ 561590 h 6858000"/>
              <a:gd name="connsiteX466" fmla="*/ 11317196 w 12192000"/>
              <a:gd name="connsiteY466" fmla="*/ 552393 h 6858000"/>
              <a:gd name="connsiteX467" fmla="*/ 11348438 w 12192000"/>
              <a:gd name="connsiteY467" fmla="*/ 526187 h 6858000"/>
              <a:gd name="connsiteX468" fmla="*/ 11348438 w 12192000"/>
              <a:gd name="connsiteY468" fmla="*/ 555021 h 6858000"/>
              <a:gd name="connsiteX469" fmla="*/ 11415231 w 12192000"/>
              <a:gd name="connsiteY469" fmla="*/ 555021 h 6858000"/>
              <a:gd name="connsiteX470" fmla="*/ 11415231 w 12192000"/>
              <a:gd name="connsiteY470" fmla="*/ 408223 h 6858000"/>
              <a:gd name="connsiteX471" fmla="*/ 11389791 w 12192000"/>
              <a:gd name="connsiteY471" fmla="*/ 317306 h 6858000"/>
              <a:gd name="connsiteX472" fmla="*/ 11301684 w 12192000"/>
              <a:gd name="connsiteY472" fmla="*/ 291866 h 6858000"/>
              <a:gd name="connsiteX473" fmla="*/ 11492899 w 12192000"/>
              <a:gd name="connsiteY473" fmla="*/ 225110 h 6858000"/>
              <a:gd name="connsiteX474" fmla="*/ 11492899 w 12192000"/>
              <a:gd name="connsiteY474" fmla="*/ 298107 h 6858000"/>
              <a:gd name="connsiteX475" fmla="*/ 11427202 w 12192000"/>
              <a:gd name="connsiteY475" fmla="*/ 298107 h 6858000"/>
              <a:gd name="connsiteX476" fmla="*/ 11427202 w 12192000"/>
              <a:gd name="connsiteY476" fmla="*/ 349935 h 6858000"/>
              <a:gd name="connsiteX477" fmla="*/ 11492899 w 12192000"/>
              <a:gd name="connsiteY477" fmla="*/ 349935 h 6858000"/>
              <a:gd name="connsiteX478" fmla="*/ 11492899 w 12192000"/>
              <a:gd name="connsiteY478" fmla="*/ 467971 h 6858000"/>
              <a:gd name="connsiteX479" fmla="*/ 11513302 w 12192000"/>
              <a:gd name="connsiteY479" fmla="*/ 536552 h 6858000"/>
              <a:gd name="connsiteX480" fmla="*/ 11591518 w 12192000"/>
              <a:gd name="connsiteY480" fmla="*/ 555057 h 6858000"/>
              <a:gd name="connsiteX481" fmla="*/ 11648018 w 12192000"/>
              <a:gd name="connsiteY481" fmla="*/ 555057 h 6858000"/>
              <a:gd name="connsiteX482" fmla="*/ 11648018 w 12192000"/>
              <a:gd name="connsiteY482" fmla="*/ 503229 h 6858000"/>
              <a:gd name="connsiteX483" fmla="*/ 11596336 w 12192000"/>
              <a:gd name="connsiteY483" fmla="*/ 503229 h 6858000"/>
              <a:gd name="connsiteX484" fmla="*/ 11568415 w 12192000"/>
              <a:gd name="connsiteY484" fmla="*/ 495783 h 6858000"/>
              <a:gd name="connsiteX485" fmla="*/ 11560020 w 12192000"/>
              <a:gd name="connsiteY485" fmla="*/ 471183 h 6858000"/>
              <a:gd name="connsiteX486" fmla="*/ 11560020 w 12192000"/>
              <a:gd name="connsiteY486" fmla="*/ 349935 h 6858000"/>
              <a:gd name="connsiteX487" fmla="*/ 11647982 w 12192000"/>
              <a:gd name="connsiteY487" fmla="*/ 349935 h 6858000"/>
              <a:gd name="connsiteX488" fmla="*/ 11647982 w 12192000"/>
              <a:gd name="connsiteY488" fmla="*/ 298107 h 6858000"/>
              <a:gd name="connsiteX489" fmla="*/ 11560020 w 12192000"/>
              <a:gd name="connsiteY489" fmla="*/ 298107 h 6858000"/>
              <a:gd name="connsiteX490" fmla="*/ 11560020 w 12192000"/>
              <a:gd name="connsiteY490" fmla="*/ 225110 h 6858000"/>
              <a:gd name="connsiteX491" fmla="*/ 11773427 w 12192000"/>
              <a:gd name="connsiteY491" fmla="*/ 198101 h 6858000"/>
              <a:gd name="connsiteX492" fmla="*/ 11773427 w 12192000"/>
              <a:gd name="connsiteY492" fmla="*/ 241534 h 6858000"/>
              <a:gd name="connsiteX493" fmla="*/ 11828905 w 12192000"/>
              <a:gd name="connsiteY493" fmla="*/ 241534 h 6858000"/>
              <a:gd name="connsiteX494" fmla="*/ 11828905 w 12192000"/>
              <a:gd name="connsiteY494" fmla="*/ 573671 h 6858000"/>
              <a:gd name="connsiteX495" fmla="*/ 11773427 w 12192000"/>
              <a:gd name="connsiteY495" fmla="*/ 573671 h 6858000"/>
              <a:gd name="connsiteX496" fmla="*/ 11773427 w 12192000"/>
              <a:gd name="connsiteY496" fmla="*/ 617105 h 6858000"/>
              <a:gd name="connsiteX497" fmla="*/ 11889857 w 12192000"/>
              <a:gd name="connsiteY497" fmla="*/ 617105 h 6858000"/>
              <a:gd name="connsiteX498" fmla="*/ 11889857 w 12192000"/>
              <a:gd name="connsiteY498" fmla="*/ 198101 h 6858000"/>
              <a:gd name="connsiteX499" fmla="*/ 10990132 w 12192000"/>
              <a:gd name="connsiteY499" fmla="*/ 197736 h 6858000"/>
              <a:gd name="connsiteX500" fmla="*/ 10990132 w 12192000"/>
              <a:gd name="connsiteY500" fmla="*/ 617105 h 6858000"/>
              <a:gd name="connsiteX501" fmla="*/ 11106635 w 12192000"/>
              <a:gd name="connsiteY501" fmla="*/ 617105 h 6858000"/>
              <a:gd name="connsiteX502" fmla="*/ 11106635 w 12192000"/>
              <a:gd name="connsiteY502" fmla="*/ 573671 h 6858000"/>
              <a:gd name="connsiteX503" fmla="*/ 11051085 w 12192000"/>
              <a:gd name="connsiteY503" fmla="*/ 573671 h 6858000"/>
              <a:gd name="connsiteX504" fmla="*/ 11051085 w 12192000"/>
              <a:gd name="connsiteY504" fmla="*/ 241169 h 6858000"/>
              <a:gd name="connsiteX505" fmla="*/ 11106635 w 12192000"/>
              <a:gd name="connsiteY505" fmla="*/ 241169 h 6858000"/>
              <a:gd name="connsiteX506" fmla="*/ 11106635 w 12192000"/>
              <a:gd name="connsiteY506" fmla="*/ 197736 h 6858000"/>
              <a:gd name="connsiteX507" fmla="*/ 0 w 12192000"/>
              <a:gd name="connsiteY507" fmla="*/ 0 h 6858000"/>
              <a:gd name="connsiteX508" fmla="*/ 12192000 w 12192000"/>
              <a:gd name="connsiteY508" fmla="*/ 0 h 6858000"/>
              <a:gd name="connsiteX509" fmla="*/ 12192000 w 12192000"/>
              <a:gd name="connsiteY509" fmla="*/ 6858000 h 6858000"/>
              <a:gd name="connsiteX510" fmla="*/ 0 w 12192000"/>
              <a:gd name="connsiteY5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</a:cxnLst>
            <a:rect l="l" t="t" r="r" b="b"/>
            <a:pathLst>
              <a:path w="12192000" h="6858000">
                <a:moveTo>
                  <a:pt x="11665610" y="772625"/>
                </a:moveTo>
                <a:lnTo>
                  <a:pt x="11665610" y="783465"/>
                </a:lnTo>
                <a:cubicBezTo>
                  <a:pt x="11663421" y="785837"/>
                  <a:pt x="11661158" y="787553"/>
                  <a:pt x="11658822" y="788721"/>
                </a:cubicBezTo>
                <a:cubicBezTo>
                  <a:pt x="11656486" y="789852"/>
                  <a:pt x="11653748" y="790436"/>
                  <a:pt x="11650573" y="790436"/>
                </a:cubicBezTo>
                <a:cubicBezTo>
                  <a:pt x="11647982" y="790436"/>
                  <a:pt x="11645865" y="789852"/>
                  <a:pt x="11644259" y="788684"/>
                </a:cubicBezTo>
                <a:cubicBezTo>
                  <a:pt x="11642653" y="787516"/>
                  <a:pt x="11641850" y="785545"/>
                  <a:pt x="11641850" y="782845"/>
                </a:cubicBezTo>
                <a:cubicBezTo>
                  <a:pt x="11641850" y="781458"/>
                  <a:pt x="11642251" y="780180"/>
                  <a:pt x="11643054" y="779012"/>
                </a:cubicBezTo>
                <a:cubicBezTo>
                  <a:pt x="11643821" y="777844"/>
                  <a:pt x="11645171" y="776822"/>
                  <a:pt x="11646996" y="775946"/>
                </a:cubicBezTo>
                <a:cubicBezTo>
                  <a:pt x="11648821" y="775070"/>
                  <a:pt x="11651266" y="774340"/>
                  <a:pt x="11654332" y="773793"/>
                </a:cubicBezTo>
                <a:cubicBezTo>
                  <a:pt x="11657362" y="773209"/>
                  <a:pt x="11661121" y="772844"/>
                  <a:pt x="11665610" y="772625"/>
                </a:cubicBezTo>
                <a:close/>
                <a:moveTo>
                  <a:pt x="11244271" y="769924"/>
                </a:moveTo>
                <a:lnTo>
                  <a:pt x="11244308" y="769924"/>
                </a:lnTo>
                <a:lnTo>
                  <a:pt x="11244308" y="786276"/>
                </a:lnTo>
                <a:cubicBezTo>
                  <a:pt x="11242848" y="787772"/>
                  <a:pt x="11241352" y="789195"/>
                  <a:pt x="11239855" y="790473"/>
                </a:cubicBezTo>
                <a:cubicBezTo>
                  <a:pt x="11238359" y="791787"/>
                  <a:pt x="11236753" y="792882"/>
                  <a:pt x="11235001" y="793831"/>
                </a:cubicBezTo>
                <a:cubicBezTo>
                  <a:pt x="11233249" y="794780"/>
                  <a:pt x="11231387" y="795510"/>
                  <a:pt x="11229344" y="796021"/>
                </a:cubicBezTo>
                <a:cubicBezTo>
                  <a:pt x="11227300" y="796532"/>
                  <a:pt x="11225073" y="796787"/>
                  <a:pt x="11222664" y="796787"/>
                </a:cubicBezTo>
                <a:cubicBezTo>
                  <a:pt x="11221022" y="796787"/>
                  <a:pt x="11219452" y="796568"/>
                  <a:pt x="11217956" y="796094"/>
                </a:cubicBezTo>
                <a:cubicBezTo>
                  <a:pt x="11216460" y="795656"/>
                  <a:pt x="11215109" y="794926"/>
                  <a:pt x="11213978" y="793940"/>
                </a:cubicBezTo>
                <a:cubicBezTo>
                  <a:pt x="11212810" y="792955"/>
                  <a:pt x="11211897" y="791714"/>
                  <a:pt x="11211204" y="790181"/>
                </a:cubicBezTo>
                <a:cubicBezTo>
                  <a:pt x="11210510" y="788648"/>
                  <a:pt x="11210182" y="786823"/>
                  <a:pt x="11210182" y="784743"/>
                </a:cubicBezTo>
                <a:cubicBezTo>
                  <a:pt x="11210182" y="782553"/>
                  <a:pt x="11210839" y="780582"/>
                  <a:pt x="11212189" y="778830"/>
                </a:cubicBezTo>
                <a:cubicBezTo>
                  <a:pt x="11213503" y="777078"/>
                  <a:pt x="11215584" y="775581"/>
                  <a:pt x="11218357" y="774341"/>
                </a:cubicBezTo>
                <a:cubicBezTo>
                  <a:pt x="11221131" y="773063"/>
                  <a:pt x="11224672" y="772078"/>
                  <a:pt x="11228942" y="771348"/>
                </a:cubicBezTo>
                <a:cubicBezTo>
                  <a:pt x="11233212" y="770618"/>
                  <a:pt x="11238322" y="770143"/>
                  <a:pt x="11244271" y="769924"/>
                </a:cubicBezTo>
                <a:close/>
                <a:moveTo>
                  <a:pt x="11032215" y="769924"/>
                </a:moveTo>
                <a:lnTo>
                  <a:pt x="11032251" y="769924"/>
                </a:lnTo>
                <a:lnTo>
                  <a:pt x="11032251" y="786276"/>
                </a:lnTo>
                <a:cubicBezTo>
                  <a:pt x="11030791" y="787772"/>
                  <a:pt x="11029295" y="789195"/>
                  <a:pt x="11027799" y="790473"/>
                </a:cubicBezTo>
                <a:cubicBezTo>
                  <a:pt x="11026302" y="791787"/>
                  <a:pt x="11024696" y="792882"/>
                  <a:pt x="11022944" y="793831"/>
                </a:cubicBezTo>
                <a:cubicBezTo>
                  <a:pt x="11021192" y="794780"/>
                  <a:pt x="11019331" y="795510"/>
                  <a:pt x="11017287" y="796021"/>
                </a:cubicBezTo>
                <a:cubicBezTo>
                  <a:pt x="11015243" y="796532"/>
                  <a:pt x="11013017" y="796787"/>
                  <a:pt x="11010608" y="796787"/>
                </a:cubicBezTo>
                <a:cubicBezTo>
                  <a:pt x="11008965" y="796787"/>
                  <a:pt x="11007396" y="796568"/>
                  <a:pt x="11005899" y="796094"/>
                </a:cubicBezTo>
                <a:cubicBezTo>
                  <a:pt x="11004403" y="795656"/>
                  <a:pt x="11003053" y="794926"/>
                  <a:pt x="11001921" y="793940"/>
                </a:cubicBezTo>
                <a:cubicBezTo>
                  <a:pt x="11000753" y="792955"/>
                  <a:pt x="10999841" y="791714"/>
                  <a:pt x="10999147" y="790181"/>
                </a:cubicBezTo>
                <a:cubicBezTo>
                  <a:pt x="10998454" y="788648"/>
                  <a:pt x="10998125" y="786823"/>
                  <a:pt x="10998125" y="784743"/>
                </a:cubicBezTo>
                <a:cubicBezTo>
                  <a:pt x="10998125" y="782553"/>
                  <a:pt x="10998782" y="780582"/>
                  <a:pt x="11000133" y="778830"/>
                </a:cubicBezTo>
                <a:cubicBezTo>
                  <a:pt x="11001447" y="777078"/>
                  <a:pt x="11003527" y="775581"/>
                  <a:pt x="11006301" y="774341"/>
                </a:cubicBezTo>
                <a:cubicBezTo>
                  <a:pt x="11009075" y="773063"/>
                  <a:pt x="11012615" y="772078"/>
                  <a:pt x="11016886" y="771348"/>
                </a:cubicBezTo>
                <a:cubicBezTo>
                  <a:pt x="11021156" y="770618"/>
                  <a:pt x="11026266" y="770143"/>
                  <a:pt x="11032215" y="769924"/>
                </a:cubicBezTo>
                <a:close/>
                <a:moveTo>
                  <a:pt x="11363804" y="741310"/>
                </a:moveTo>
                <a:cubicBezTo>
                  <a:pt x="11367527" y="741310"/>
                  <a:pt x="11370812" y="742040"/>
                  <a:pt x="11373731" y="743500"/>
                </a:cubicBezTo>
                <a:cubicBezTo>
                  <a:pt x="11376615" y="744960"/>
                  <a:pt x="11379279" y="747478"/>
                  <a:pt x="11381652" y="751091"/>
                </a:cubicBezTo>
                <a:lnTo>
                  <a:pt x="11381688" y="751091"/>
                </a:lnTo>
                <a:lnTo>
                  <a:pt x="11381688" y="783904"/>
                </a:lnTo>
                <a:cubicBezTo>
                  <a:pt x="11379097" y="787772"/>
                  <a:pt x="11376104" y="790765"/>
                  <a:pt x="11372710" y="792882"/>
                </a:cubicBezTo>
                <a:cubicBezTo>
                  <a:pt x="11369315" y="795036"/>
                  <a:pt x="11365556" y="796094"/>
                  <a:pt x="11361468" y="796094"/>
                </a:cubicBezTo>
                <a:cubicBezTo>
                  <a:pt x="11355008" y="796094"/>
                  <a:pt x="11350080" y="793904"/>
                  <a:pt x="11346686" y="789524"/>
                </a:cubicBezTo>
                <a:cubicBezTo>
                  <a:pt x="11343292" y="785144"/>
                  <a:pt x="11341576" y="778319"/>
                  <a:pt x="11341576" y="769049"/>
                </a:cubicBezTo>
                <a:cubicBezTo>
                  <a:pt x="11341576" y="764961"/>
                  <a:pt x="11342051" y="761201"/>
                  <a:pt x="11343000" y="757807"/>
                </a:cubicBezTo>
                <a:cubicBezTo>
                  <a:pt x="11343949" y="754376"/>
                  <a:pt x="11345336" y="751456"/>
                  <a:pt x="11347197" y="749011"/>
                </a:cubicBezTo>
                <a:cubicBezTo>
                  <a:pt x="11349058" y="746565"/>
                  <a:pt x="11351358" y="744668"/>
                  <a:pt x="11354132" y="743317"/>
                </a:cubicBezTo>
                <a:cubicBezTo>
                  <a:pt x="11356906" y="741967"/>
                  <a:pt x="11360118" y="741310"/>
                  <a:pt x="11363804" y="741310"/>
                </a:cubicBezTo>
                <a:close/>
                <a:moveTo>
                  <a:pt x="11432604" y="741126"/>
                </a:moveTo>
                <a:cubicBezTo>
                  <a:pt x="11435451" y="741126"/>
                  <a:pt x="11438042" y="741601"/>
                  <a:pt x="11440415" y="742586"/>
                </a:cubicBezTo>
                <a:cubicBezTo>
                  <a:pt x="11442787" y="743572"/>
                  <a:pt x="11444831" y="744995"/>
                  <a:pt x="11446546" y="746820"/>
                </a:cubicBezTo>
                <a:cubicBezTo>
                  <a:pt x="11448262" y="748682"/>
                  <a:pt x="11449576" y="750908"/>
                  <a:pt x="11450525" y="753572"/>
                </a:cubicBezTo>
                <a:cubicBezTo>
                  <a:pt x="11451474" y="756237"/>
                  <a:pt x="11451948" y="759230"/>
                  <a:pt x="11451948" y="762587"/>
                </a:cubicBezTo>
                <a:lnTo>
                  <a:pt x="11410595" y="762587"/>
                </a:lnTo>
                <a:cubicBezTo>
                  <a:pt x="11410960" y="759339"/>
                  <a:pt x="11411727" y="756383"/>
                  <a:pt x="11412858" y="753755"/>
                </a:cubicBezTo>
                <a:cubicBezTo>
                  <a:pt x="11413990" y="751090"/>
                  <a:pt x="11415486" y="748864"/>
                  <a:pt x="11417347" y="746966"/>
                </a:cubicBezTo>
                <a:cubicBezTo>
                  <a:pt x="11419209" y="745068"/>
                  <a:pt x="11421399" y="743645"/>
                  <a:pt x="11423954" y="742623"/>
                </a:cubicBezTo>
                <a:cubicBezTo>
                  <a:pt x="11426509" y="741637"/>
                  <a:pt x="11429392" y="741126"/>
                  <a:pt x="11432604" y="741126"/>
                </a:cubicBezTo>
                <a:close/>
                <a:moveTo>
                  <a:pt x="11110139" y="741126"/>
                </a:moveTo>
                <a:cubicBezTo>
                  <a:pt x="11112986" y="741126"/>
                  <a:pt x="11115577" y="741601"/>
                  <a:pt x="11117950" y="742586"/>
                </a:cubicBezTo>
                <a:cubicBezTo>
                  <a:pt x="11120322" y="743572"/>
                  <a:pt x="11122366" y="744995"/>
                  <a:pt x="11124081" y="746820"/>
                </a:cubicBezTo>
                <a:cubicBezTo>
                  <a:pt x="11125797" y="748682"/>
                  <a:pt x="11127111" y="750908"/>
                  <a:pt x="11128060" y="753572"/>
                </a:cubicBezTo>
                <a:cubicBezTo>
                  <a:pt x="11129009" y="756237"/>
                  <a:pt x="11129483" y="759230"/>
                  <a:pt x="11129483" y="762587"/>
                </a:cubicBezTo>
                <a:lnTo>
                  <a:pt x="11088130" y="762587"/>
                </a:lnTo>
                <a:cubicBezTo>
                  <a:pt x="11088495" y="759339"/>
                  <a:pt x="11089262" y="756383"/>
                  <a:pt x="11090393" y="753755"/>
                </a:cubicBezTo>
                <a:cubicBezTo>
                  <a:pt x="11091525" y="751090"/>
                  <a:pt x="11093021" y="748864"/>
                  <a:pt x="11094882" y="746966"/>
                </a:cubicBezTo>
                <a:cubicBezTo>
                  <a:pt x="11096744" y="745068"/>
                  <a:pt x="11098934" y="743645"/>
                  <a:pt x="11101489" y="742623"/>
                </a:cubicBezTo>
                <a:cubicBezTo>
                  <a:pt x="11104044" y="741637"/>
                  <a:pt x="11106927" y="741126"/>
                  <a:pt x="11110139" y="741126"/>
                </a:cubicBezTo>
                <a:close/>
                <a:moveTo>
                  <a:pt x="11143791" y="737659"/>
                </a:moveTo>
                <a:lnTo>
                  <a:pt x="11165617" y="768135"/>
                </a:lnTo>
                <a:lnTo>
                  <a:pt x="11142915" y="800072"/>
                </a:lnTo>
                <a:lnTo>
                  <a:pt x="11148317" y="800072"/>
                </a:lnTo>
                <a:cubicBezTo>
                  <a:pt x="11148828" y="800072"/>
                  <a:pt x="11149229" y="799889"/>
                  <a:pt x="11149558" y="799561"/>
                </a:cubicBezTo>
                <a:cubicBezTo>
                  <a:pt x="11149886" y="799232"/>
                  <a:pt x="11150178" y="798867"/>
                  <a:pt x="11150470" y="798502"/>
                </a:cubicBezTo>
                <a:lnTo>
                  <a:pt x="11168537" y="773026"/>
                </a:lnTo>
                <a:cubicBezTo>
                  <a:pt x="11169011" y="772333"/>
                  <a:pt x="11169303" y="771603"/>
                  <a:pt x="11169486" y="770836"/>
                </a:cubicBezTo>
                <a:lnTo>
                  <a:pt x="11188429" y="798502"/>
                </a:lnTo>
                <a:cubicBezTo>
                  <a:pt x="11188611" y="798831"/>
                  <a:pt x="11188903" y="799159"/>
                  <a:pt x="11189232" y="799524"/>
                </a:cubicBezTo>
                <a:cubicBezTo>
                  <a:pt x="11189560" y="799889"/>
                  <a:pt x="11190035" y="800072"/>
                  <a:pt x="11190619" y="800072"/>
                </a:cubicBezTo>
                <a:lnTo>
                  <a:pt x="11196312" y="800072"/>
                </a:lnTo>
                <a:lnTo>
                  <a:pt x="11173647" y="767770"/>
                </a:lnTo>
                <a:lnTo>
                  <a:pt x="11195400" y="737659"/>
                </a:lnTo>
                <a:lnTo>
                  <a:pt x="11189925" y="737659"/>
                </a:lnTo>
                <a:cubicBezTo>
                  <a:pt x="11189451" y="737659"/>
                  <a:pt x="11189086" y="737768"/>
                  <a:pt x="11188794" y="738024"/>
                </a:cubicBezTo>
                <a:cubicBezTo>
                  <a:pt x="11188502" y="738279"/>
                  <a:pt x="11188246" y="738608"/>
                  <a:pt x="11187991" y="738973"/>
                </a:cubicBezTo>
                <a:lnTo>
                  <a:pt x="11170873" y="763135"/>
                </a:lnTo>
                <a:cubicBezTo>
                  <a:pt x="11170690" y="763500"/>
                  <a:pt x="11170471" y="763901"/>
                  <a:pt x="11170289" y="764266"/>
                </a:cubicBezTo>
                <a:cubicBezTo>
                  <a:pt x="11170106" y="764631"/>
                  <a:pt x="11169960" y="764996"/>
                  <a:pt x="11169887" y="765325"/>
                </a:cubicBezTo>
                <a:lnTo>
                  <a:pt x="11151565" y="738900"/>
                </a:lnTo>
                <a:cubicBezTo>
                  <a:pt x="11151346" y="738571"/>
                  <a:pt x="11151091" y="738279"/>
                  <a:pt x="11150799" y="738024"/>
                </a:cubicBezTo>
                <a:cubicBezTo>
                  <a:pt x="11150507" y="737768"/>
                  <a:pt x="11150069" y="737659"/>
                  <a:pt x="11149485" y="737659"/>
                </a:cubicBezTo>
                <a:close/>
                <a:moveTo>
                  <a:pt x="11432494" y="736710"/>
                </a:moveTo>
                <a:cubicBezTo>
                  <a:pt x="11428042" y="736710"/>
                  <a:pt x="11424100" y="737513"/>
                  <a:pt x="11420596" y="739046"/>
                </a:cubicBezTo>
                <a:cubicBezTo>
                  <a:pt x="11417128" y="740579"/>
                  <a:pt x="11414172" y="742732"/>
                  <a:pt x="11411763" y="745470"/>
                </a:cubicBezTo>
                <a:cubicBezTo>
                  <a:pt x="11409354" y="748207"/>
                  <a:pt x="11407529" y="751455"/>
                  <a:pt x="11406252" y="755251"/>
                </a:cubicBezTo>
                <a:cubicBezTo>
                  <a:pt x="11404974" y="759011"/>
                  <a:pt x="11404354" y="763135"/>
                  <a:pt x="11404354" y="767624"/>
                </a:cubicBezTo>
                <a:cubicBezTo>
                  <a:pt x="11404354" y="772953"/>
                  <a:pt x="11405047" y="777661"/>
                  <a:pt x="11406398" y="781786"/>
                </a:cubicBezTo>
                <a:cubicBezTo>
                  <a:pt x="11407748" y="785910"/>
                  <a:pt x="11409683" y="789377"/>
                  <a:pt x="11412201" y="792224"/>
                </a:cubicBezTo>
                <a:cubicBezTo>
                  <a:pt x="11414683" y="795071"/>
                  <a:pt x="11417676" y="797225"/>
                  <a:pt x="11421216" y="798721"/>
                </a:cubicBezTo>
                <a:cubicBezTo>
                  <a:pt x="11424757" y="800218"/>
                  <a:pt x="11428626" y="800947"/>
                  <a:pt x="11432896" y="800947"/>
                </a:cubicBezTo>
                <a:cubicBezTo>
                  <a:pt x="11435268" y="800947"/>
                  <a:pt x="11437568" y="800728"/>
                  <a:pt x="11439904" y="800254"/>
                </a:cubicBezTo>
                <a:cubicBezTo>
                  <a:pt x="11442239" y="799780"/>
                  <a:pt x="11444393" y="799159"/>
                  <a:pt x="11446437" y="798393"/>
                </a:cubicBezTo>
                <a:cubicBezTo>
                  <a:pt x="11448444" y="797626"/>
                  <a:pt x="11450306" y="796714"/>
                  <a:pt x="11451948" y="795619"/>
                </a:cubicBezTo>
                <a:cubicBezTo>
                  <a:pt x="11453591" y="794524"/>
                  <a:pt x="11454904" y="793356"/>
                  <a:pt x="11455926" y="792115"/>
                </a:cubicBezTo>
                <a:lnTo>
                  <a:pt x="11454284" y="790107"/>
                </a:lnTo>
                <a:cubicBezTo>
                  <a:pt x="11453992" y="789706"/>
                  <a:pt x="11453591" y="789487"/>
                  <a:pt x="11453043" y="789487"/>
                </a:cubicBezTo>
                <a:cubicBezTo>
                  <a:pt x="11452642" y="789487"/>
                  <a:pt x="11451948" y="789815"/>
                  <a:pt x="11451036" y="790509"/>
                </a:cubicBezTo>
                <a:cubicBezTo>
                  <a:pt x="11450123" y="791202"/>
                  <a:pt x="11448882" y="792005"/>
                  <a:pt x="11447313" y="792845"/>
                </a:cubicBezTo>
                <a:cubicBezTo>
                  <a:pt x="11445743" y="793721"/>
                  <a:pt x="11443809" y="794487"/>
                  <a:pt x="11441510" y="795181"/>
                </a:cubicBezTo>
                <a:cubicBezTo>
                  <a:pt x="11439210" y="795874"/>
                  <a:pt x="11436509" y="796203"/>
                  <a:pt x="11433370" y="796203"/>
                </a:cubicBezTo>
                <a:cubicBezTo>
                  <a:pt x="11429866" y="796203"/>
                  <a:pt x="11426691" y="795582"/>
                  <a:pt x="11423844" y="794378"/>
                </a:cubicBezTo>
                <a:cubicBezTo>
                  <a:pt x="11420997" y="793137"/>
                  <a:pt x="11418588" y="791348"/>
                  <a:pt x="11416581" y="788939"/>
                </a:cubicBezTo>
                <a:cubicBezTo>
                  <a:pt x="11414574" y="786531"/>
                  <a:pt x="11413041" y="783538"/>
                  <a:pt x="11411946" y="779997"/>
                </a:cubicBezTo>
                <a:cubicBezTo>
                  <a:pt x="11410851" y="776420"/>
                  <a:pt x="11410303" y="772296"/>
                  <a:pt x="11410303" y="767624"/>
                </a:cubicBezTo>
                <a:lnTo>
                  <a:pt x="11410303" y="766493"/>
                </a:lnTo>
                <a:lnTo>
                  <a:pt x="11455671" y="766493"/>
                </a:lnTo>
                <a:cubicBezTo>
                  <a:pt x="11456255" y="766493"/>
                  <a:pt x="11456656" y="766310"/>
                  <a:pt x="11456912" y="765982"/>
                </a:cubicBezTo>
                <a:cubicBezTo>
                  <a:pt x="11457167" y="765617"/>
                  <a:pt x="11457277" y="764996"/>
                  <a:pt x="11457277" y="764084"/>
                </a:cubicBezTo>
                <a:cubicBezTo>
                  <a:pt x="11457277" y="759668"/>
                  <a:pt x="11456656" y="755799"/>
                  <a:pt x="11455379" y="752404"/>
                </a:cubicBezTo>
                <a:cubicBezTo>
                  <a:pt x="11454102" y="749010"/>
                  <a:pt x="11452350" y="746163"/>
                  <a:pt x="11450123" y="743827"/>
                </a:cubicBezTo>
                <a:cubicBezTo>
                  <a:pt x="11447897" y="741528"/>
                  <a:pt x="11445269" y="739739"/>
                  <a:pt x="11442276" y="738535"/>
                </a:cubicBezTo>
                <a:cubicBezTo>
                  <a:pt x="11439283" y="737331"/>
                  <a:pt x="11435998" y="736710"/>
                  <a:pt x="11432494" y="736710"/>
                </a:cubicBezTo>
                <a:close/>
                <a:moveTo>
                  <a:pt x="11110029" y="736710"/>
                </a:moveTo>
                <a:cubicBezTo>
                  <a:pt x="11105577" y="736710"/>
                  <a:pt x="11101635" y="737513"/>
                  <a:pt x="11098131" y="739046"/>
                </a:cubicBezTo>
                <a:cubicBezTo>
                  <a:pt x="11094663" y="740579"/>
                  <a:pt x="11091707" y="742732"/>
                  <a:pt x="11089298" y="745470"/>
                </a:cubicBezTo>
                <a:cubicBezTo>
                  <a:pt x="11086889" y="748207"/>
                  <a:pt x="11085064" y="751455"/>
                  <a:pt x="11083787" y="755251"/>
                </a:cubicBezTo>
                <a:cubicBezTo>
                  <a:pt x="11082509" y="759011"/>
                  <a:pt x="11081889" y="763135"/>
                  <a:pt x="11081889" y="767624"/>
                </a:cubicBezTo>
                <a:cubicBezTo>
                  <a:pt x="11081889" y="772953"/>
                  <a:pt x="11082582" y="777661"/>
                  <a:pt x="11083933" y="781786"/>
                </a:cubicBezTo>
                <a:cubicBezTo>
                  <a:pt x="11085283" y="785910"/>
                  <a:pt x="11087218" y="789377"/>
                  <a:pt x="11089736" y="792224"/>
                </a:cubicBezTo>
                <a:cubicBezTo>
                  <a:pt x="11092218" y="795071"/>
                  <a:pt x="11095247" y="797225"/>
                  <a:pt x="11098751" y="798721"/>
                </a:cubicBezTo>
                <a:cubicBezTo>
                  <a:pt x="11102292" y="800218"/>
                  <a:pt x="11106161" y="800947"/>
                  <a:pt x="11110431" y="800947"/>
                </a:cubicBezTo>
                <a:cubicBezTo>
                  <a:pt x="11112803" y="800947"/>
                  <a:pt x="11115103" y="800728"/>
                  <a:pt x="11117439" y="800254"/>
                </a:cubicBezTo>
                <a:cubicBezTo>
                  <a:pt x="11119774" y="799780"/>
                  <a:pt x="11121928" y="799159"/>
                  <a:pt x="11123972" y="798393"/>
                </a:cubicBezTo>
                <a:cubicBezTo>
                  <a:pt x="11125979" y="797626"/>
                  <a:pt x="11127841" y="796714"/>
                  <a:pt x="11129483" y="795619"/>
                </a:cubicBezTo>
                <a:cubicBezTo>
                  <a:pt x="11131126" y="794524"/>
                  <a:pt x="11132439" y="793356"/>
                  <a:pt x="11133461" y="792115"/>
                </a:cubicBezTo>
                <a:lnTo>
                  <a:pt x="11131819" y="790107"/>
                </a:lnTo>
                <a:cubicBezTo>
                  <a:pt x="11131527" y="789706"/>
                  <a:pt x="11131126" y="789487"/>
                  <a:pt x="11130578" y="789487"/>
                </a:cubicBezTo>
                <a:cubicBezTo>
                  <a:pt x="11130177" y="789487"/>
                  <a:pt x="11129483" y="789815"/>
                  <a:pt x="11128571" y="790509"/>
                </a:cubicBezTo>
                <a:cubicBezTo>
                  <a:pt x="11127658" y="791202"/>
                  <a:pt x="11126417" y="792005"/>
                  <a:pt x="11124848" y="792845"/>
                </a:cubicBezTo>
                <a:cubicBezTo>
                  <a:pt x="11123278" y="793721"/>
                  <a:pt x="11121344" y="794487"/>
                  <a:pt x="11119045" y="795181"/>
                </a:cubicBezTo>
                <a:cubicBezTo>
                  <a:pt x="11116745" y="795874"/>
                  <a:pt x="11114044" y="796203"/>
                  <a:pt x="11110905" y="796203"/>
                </a:cubicBezTo>
                <a:cubicBezTo>
                  <a:pt x="11107401" y="796203"/>
                  <a:pt x="11104226" y="795582"/>
                  <a:pt x="11101379" y="794378"/>
                </a:cubicBezTo>
                <a:cubicBezTo>
                  <a:pt x="11098532" y="793137"/>
                  <a:pt x="11096123" y="791348"/>
                  <a:pt x="11094116" y="788939"/>
                </a:cubicBezTo>
                <a:cubicBezTo>
                  <a:pt x="11092109" y="786531"/>
                  <a:pt x="11090576" y="783538"/>
                  <a:pt x="11089481" y="779997"/>
                </a:cubicBezTo>
                <a:cubicBezTo>
                  <a:pt x="11088386" y="776420"/>
                  <a:pt x="11087838" y="772296"/>
                  <a:pt x="11087838" y="767624"/>
                </a:cubicBezTo>
                <a:lnTo>
                  <a:pt x="11087838" y="766493"/>
                </a:lnTo>
                <a:lnTo>
                  <a:pt x="11133206" y="766493"/>
                </a:lnTo>
                <a:cubicBezTo>
                  <a:pt x="11133790" y="766493"/>
                  <a:pt x="11134191" y="766310"/>
                  <a:pt x="11134447" y="765982"/>
                </a:cubicBezTo>
                <a:cubicBezTo>
                  <a:pt x="11134702" y="765617"/>
                  <a:pt x="11134812" y="764996"/>
                  <a:pt x="11134812" y="764084"/>
                </a:cubicBezTo>
                <a:cubicBezTo>
                  <a:pt x="11134812" y="759668"/>
                  <a:pt x="11134191" y="755799"/>
                  <a:pt x="11132914" y="752404"/>
                </a:cubicBezTo>
                <a:cubicBezTo>
                  <a:pt x="11131637" y="749010"/>
                  <a:pt x="11129885" y="746163"/>
                  <a:pt x="11127658" y="743827"/>
                </a:cubicBezTo>
                <a:cubicBezTo>
                  <a:pt x="11125432" y="741528"/>
                  <a:pt x="11122804" y="739739"/>
                  <a:pt x="11119811" y="738535"/>
                </a:cubicBezTo>
                <a:cubicBezTo>
                  <a:pt x="11116818" y="737331"/>
                  <a:pt x="11113533" y="736710"/>
                  <a:pt x="11110029" y="736710"/>
                </a:cubicBezTo>
                <a:close/>
                <a:moveTo>
                  <a:pt x="11298399" y="736674"/>
                </a:moveTo>
                <a:cubicBezTo>
                  <a:pt x="11293764" y="736674"/>
                  <a:pt x="11289566" y="737732"/>
                  <a:pt x="11285770" y="739922"/>
                </a:cubicBezTo>
                <a:cubicBezTo>
                  <a:pt x="11281975" y="742076"/>
                  <a:pt x="11278653" y="744959"/>
                  <a:pt x="11275770" y="748573"/>
                </a:cubicBezTo>
                <a:lnTo>
                  <a:pt x="11275222" y="739265"/>
                </a:lnTo>
                <a:cubicBezTo>
                  <a:pt x="11275040" y="738207"/>
                  <a:pt x="11274456" y="737696"/>
                  <a:pt x="11273397" y="737696"/>
                </a:cubicBezTo>
                <a:lnTo>
                  <a:pt x="11270076" y="737696"/>
                </a:lnTo>
                <a:lnTo>
                  <a:pt x="11270076" y="800109"/>
                </a:lnTo>
                <a:lnTo>
                  <a:pt x="11276062" y="800109"/>
                </a:lnTo>
                <a:lnTo>
                  <a:pt x="11276062" y="753171"/>
                </a:lnTo>
                <a:cubicBezTo>
                  <a:pt x="11278836" y="749485"/>
                  <a:pt x="11281975" y="746638"/>
                  <a:pt x="11285515" y="744558"/>
                </a:cubicBezTo>
                <a:cubicBezTo>
                  <a:pt x="11289055" y="742477"/>
                  <a:pt x="11292851" y="741455"/>
                  <a:pt x="11296902" y="741455"/>
                </a:cubicBezTo>
                <a:cubicBezTo>
                  <a:pt x="11302377" y="741455"/>
                  <a:pt x="11306465" y="743134"/>
                  <a:pt x="11309129" y="746456"/>
                </a:cubicBezTo>
                <a:cubicBezTo>
                  <a:pt x="11311794" y="749777"/>
                  <a:pt x="11313144" y="754376"/>
                  <a:pt x="11313144" y="760216"/>
                </a:cubicBezTo>
                <a:lnTo>
                  <a:pt x="11313144" y="800109"/>
                </a:lnTo>
                <a:lnTo>
                  <a:pt x="11319167" y="800109"/>
                </a:lnTo>
                <a:lnTo>
                  <a:pt x="11319167" y="760216"/>
                </a:lnTo>
                <a:cubicBezTo>
                  <a:pt x="11319167" y="756566"/>
                  <a:pt x="11318765" y="753317"/>
                  <a:pt x="11317853" y="750434"/>
                </a:cubicBezTo>
                <a:cubicBezTo>
                  <a:pt x="11316940" y="747551"/>
                  <a:pt x="11315663" y="745069"/>
                  <a:pt x="11313947" y="743025"/>
                </a:cubicBezTo>
                <a:cubicBezTo>
                  <a:pt x="11312232" y="740981"/>
                  <a:pt x="11310078" y="739411"/>
                  <a:pt x="11307451" y="738316"/>
                </a:cubicBezTo>
                <a:cubicBezTo>
                  <a:pt x="11304859" y="737221"/>
                  <a:pt x="11301830" y="736674"/>
                  <a:pt x="11298399" y="736674"/>
                </a:cubicBezTo>
                <a:close/>
                <a:moveTo>
                  <a:pt x="11498886" y="736637"/>
                </a:moveTo>
                <a:cubicBezTo>
                  <a:pt x="11496477" y="736637"/>
                  <a:pt x="11494250" y="737002"/>
                  <a:pt x="11492279" y="737732"/>
                </a:cubicBezTo>
                <a:cubicBezTo>
                  <a:pt x="11490272" y="738462"/>
                  <a:pt x="11488483" y="739520"/>
                  <a:pt x="11486877" y="740907"/>
                </a:cubicBezTo>
                <a:cubicBezTo>
                  <a:pt x="11485272" y="742258"/>
                  <a:pt x="11483848" y="743973"/>
                  <a:pt x="11482607" y="745944"/>
                </a:cubicBezTo>
                <a:cubicBezTo>
                  <a:pt x="11481366" y="747915"/>
                  <a:pt x="11480271" y="750178"/>
                  <a:pt x="11479322" y="752733"/>
                </a:cubicBezTo>
                <a:lnTo>
                  <a:pt x="11478848" y="739666"/>
                </a:lnTo>
                <a:cubicBezTo>
                  <a:pt x="11478775" y="738973"/>
                  <a:pt x="11478592" y="738462"/>
                  <a:pt x="11478300" y="738170"/>
                </a:cubicBezTo>
                <a:cubicBezTo>
                  <a:pt x="11478008" y="737878"/>
                  <a:pt x="11477497" y="737732"/>
                  <a:pt x="11476804" y="737732"/>
                </a:cubicBezTo>
                <a:lnTo>
                  <a:pt x="11473592" y="737732"/>
                </a:lnTo>
                <a:lnTo>
                  <a:pt x="11473592" y="800145"/>
                </a:lnTo>
                <a:lnTo>
                  <a:pt x="11479614" y="800145"/>
                </a:lnTo>
                <a:lnTo>
                  <a:pt x="11479614" y="759741"/>
                </a:lnTo>
                <a:cubicBezTo>
                  <a:pt x="11480527" y="756930"/>
                  <a:pt x="11481549" y="754448"/>
                  <a:pt x="11482644" y="752295"/>
                </a:cubicBezTo>
                <a:cubicBezTo>
                  <a:pt x="11483775" y="750141"/>
                  <a:pt x="11485053" y="748317"/>
                  <a:pt x="11486549" y="746857"/>
                </a:cubicBezTo>
                <a:cubicBezTo>
                  <a:pt x="11488009" y="745397"/>
                  <a:pt x="11489688" y="744302"/>
                  <a:pt x="11491549" y="743572"/>
                </a:cubicBezTo>
                <a:cubicBezTo>
                  <a:pt x="11493411" y="742842"/>
                  <a:pt x="11495564" y="742477"/>
                  <a:pt x="11497973" y="742477"/>
                </a:cubicBezTo>
                <a:cubicBezTo>
                  <a:pt x="11499652" y="742477"/>
                  <a:pt x="11501002" y="742623"/>
                  <a:pt x="11502024" y="742915"/>
                </a:cubicBezTo>
                <a:cubicBezTo>
                  <a:pt x="11503046" y="743207"/>
                  <a:pt x="11503813" y="743353"/>
                  <a:pt x="11504324" y="743353"/>
                </a:cubicBezTo>
                <a:cubicBezTo>
                  <a:pt x="11504908" y="743353"/>
                  <a:pt x="11505309" y="742988"/>
                  <a:pt x="11505528" y="742331"/>
                </a:cubicBezTo>
                <a:lnTo>
                  <a:pt x="11506039" y="738206"/>
                </a:lnTo>
                <a:cubicBezTo>
                  <a:pt x="11505090" y="737586"/>
                  <a:pt x="11503959" y="737184"/>
                  <a:pt x="11502718" y="736965"/>
                </a:cubicBezTo>
                <a:cubicBezTo>
                  <a:pt x="11501440" y="736747"/>
                  <a:pt x="11500163" y="736637"/>
                  <a:pt x="11498886" y="736637"/>
                </a:cubicBezTo>
                <a:close/>
                <a:moveTo>
                  <a:pt x="11230110" y="736601"/>
                </a:moveTo>
                <a:cubicBezTo>
                  <a:pt x="11225548" y="736601"/>
                  <a:pt x="11221496" y="737440"/>
                  <a:pt x="11217883" y="739119"/>
                </a:cubicBezTo>
                <a:cubicBezTo>
                  <a:pt x="11214270" y="740798"/>
                  <a:pt x="11210839" y="743280"/>
                  <a:pt x="11207590" y="746529"/>
                </a:cubicBezTo>
                <a:lnTo>
                  <a:pt x="11208649" y="748354"/>
                </a:lnTo>
                <a:cubicBezTo>
                  <a:pt x="11208868" y="748682"/>
                  <a:pt x="11209123" y="748937"/>
                  <a:pt x="11209415" y="749157"/>
                </a:cubicBezTo>
                <a:cubicBezTo>
                  <a:pt x="11209707" y="749375"/>
                  <a:pt x="11210072" y="749485"/>
                  <a:pt x="11210547" y="749485"/>
                </a:cubicBezTo>
                <a:cubicBezTo>
                  <a:pt x="11211204" y="749485"/>
                  <a:pt x="11211970" y="749083"/>
                  <a:pt x="11212883" y="748244"/>
                </a:cubicBezTo>
                <a:cubicBezTo>
                  <a:pt x="11213795" y="747405"/>
                  <a:pt x="11215000" y="746492"/>
                  <a:pt x="11216460" y="745470"/>
                </a:cubicBezTo>
                <a:cubicBezTo>
                  <a:pt x="11217919" y="744448"/>
                  <a:pt x="11219708" y="743536"/>
                  <a:pt x="11221825" y="742696"/>
                </a:cubicBezTo>
                <a:cubicBezTo>
                  <a:pt x="11223942" y="741857"/>
                  <a:pt x="11226533" y="741455"/>
                  <a:pt x="11229526" y="741455"/>
                </a:cubicBezTo>
                <a:cubicBezTo>
                  <a:pt x="11234417" y="741455"/>
                  <a:pt x="11238103" y="743025"/>
                  <a:pt x="11240585" y="746127"/>
                </a:cubicBezTo>
                <a:cubicBezTo>
                  <a:pt x="11243067" y="749229"/>
                  <a:pt x="11244308" y="753682"/>
                  <a:pt x="11244308" y="759449"/>
                </a:cubicBezTo>
                <a:lnTo>
                  <a:pt x="11244308" y="765982"/>
                </a:lnTo>
                <a:cubicBezTo>
                  <a:pt x="11237227" y="766128"/>
                  <a:pt x="11231168" y="766712"/>
                  <a:pt x="11226132" y="767734"/>
                </a:cubicBezTo>
                <a:cubicBezTo>
                  <a:pt x="11221095" y="768756"/>
                  <a:pt x="11216971" y="770070"/>
                  <a:pt x="11213759" y="771749"/>
                </a:cubicBezTo>
                <a:cubicBezTo>
                  <a:pt x="11210547" y="773428"/>
                  <a:pt x="11208174" y="775399"/>
                  <a:pt x="11206678" y="777662"/>
                </a:cubicBezTo>
                <a:cubicBezTo>
                  <a:pt x="11205181" y="779925"/>
                  <a:pt x="11204415" y="782370"/>
                  <a:pt x="11204415" y="784998"/>
                </a:cubicBezTo>
                <a:cubicBezTo>
                  <a:pt x="11204415" y="787845"/>
                  <a:pt x="11204889" y="790254"/>
                  <a:pt x="11205838" y="792298"/>
                </a:cubicBezTo>
                <a:cubicBezTo>
                  <a:pt x="11206787" y="794342"/>
                  <a:pt x="11208028" y="796021"/>
                  <a:pt x="11209598" y="797298"/>
                </a:cubicBezTo>
                <a:cubicBezTo>
                  <a:pt x="11211167" y="798576"/>
                  <a:pt x="11212956" y="799561"/>
                  <a:pt x="11214963" y="800181"/>
                </a:cubicBezTo>
                <a:cubicBezTo>
                  <a:pt x="11216971" y="800802"/>
                  <a:pt x="11219051" y="801130"/>
                  <a:pt x="11221168" y="801130"/>
                </a:cubicBezTo>
                <a:cubicBezTo>
                  <a:pt x="11223686" y="801130"/>
                  <a:pt x="11226059" y="800838"/>
                  <a:pt x="11228176" y="800364"/>
                </a:cubicBezTo>
                <a:cubicBezTo>
                  <a:pt x="11230292" y="799890"/>
                  <a:pt x="11232300" y="799160"/>
                  <a:pt x="11234125" y="798247"/>
                </a:cubicBezTo>
                <a:cubicBezTo>
                  <a:pt x="11235950" y="797335"/>
                  <a:pt x="11237738" y="796203"/>
                  <a:pt x="11239417" y="794853"/>
                </a:cubicBezTo>
                <a:cubicBezTo>
                  <a:pt x="11241096" y="793502"/>
                  <a:pt x="11242811" y="792006"/>
                  <a:pt x="11244527" y="790327"/>
                </a:cubicBezTo>
                <a:lnTo>
                  <a:pt x="11245403" y="798357"/>
                </a:lnTo>
                <a:cubicBezTo>
                  <a:pt x="11245695" y="799525"/>
                  <a:pt x="11246498" y="800109"/>
                  <a:pt x="11247739" y="800109"/>
                </a:cubicBezTo>
                <a:lnTo>
                  <a:pt x="11250111" y="800109"/>
                </a:lnTo>
                <a:lnTo>
                  <a:pt x="11250111" y="759449"/>
                </a:lnTo>
                <a:cubicBezTo>
                  <a:pt x="11250111" y="755982"/>
                  <a:pt x="11249710" y="752806"/>
                  <a:pt x="11248870" y="749996"/>
                </a:cubicBezTo>
                <a:cubicBezTo>
                  <a:pt x="11248031" y="747149"/>
                  <a:pt x="11246790" y="744740"/>
                  <a:pt x="11245147" y="742769"/>
                </a:cubicBezTo>
                <a:cubicBezTo>
                  <a:pt x="11243505" y="740798"/>
                  <a:pt x="11241425" y="739265"/>
                  <a:pt x="11238906" y="738207"/>
                </a:cubicBezTo>
                <a:cubicBezTo>
                  <a:pt x="11236388" y="737148"/>
                  <a:pt x="11233468" y="736601"/>
                  <a:pt x="11230110" y="736601"/>
                </a:cubicBezTo>
                <a:close/>
                <a:moveTo>
                  <a:pt x="11018017" y="736601"/>
                </a:moveTo>
                <a:cubicBezTo>
                  <a:pt x="11013455" y="736601"/>
                  <a:pt x="11009403" y="737440"/>
                  <a:pt x="11005790" y="739119"/>
                </a:cubicBezTo>
                <a:cubicBezTo>
                  <a:pt x="11002177" y="740798"/>
                  <a:pt x="10998746" y="743280"/>
                  <a:pt x="10995497" y="746529"/>
                </a:cubicBezTo>
                <a:lnTo>
                  <a:pt x="10996556" y="748354"/>
                </a:lnTo>
                <a:cubicBezTo>
                  <a:pt x="10996775" y="748682"/>
                  <a:pt x="10997030" y="748937"/>
                  <a:pt x="10997322" y="749157"/>
                </a:cubicBezTo>
                <a:cubicBezTo>
                  <a:pt x="10997614" y="749375"/>
                  <a:pt x="10997979" y="749485"/>
                  <a:pt x="10998454" y="749485"/>
                </a:cubicBezTo>
                <a:cubicBezTo>
                  <a:pt x="10999111" y="749485"/>
                  <a:pt x="10999877" y="749083"/>
                  <a:pt x="11000790" y="748244"/>
                </a:cubicBezTo>
                <a:cubicBezTo>
                  <a:pt x="11001702" y="747405"/>
                  <a:pt x="11002907" y="746492"/>
                  <a:pt x="11004367" y="745470"/>
                </a:cubicBezTo>
                <a:cubicBezTo>
                  <a:pt x="11005826" y="744448"/>
                  <a:pt x="11007615" y="743536"/>
                  <a:pt x="11009732" y="742696"/>
                </a:cubicBezTo>
                <a:cubicBezTo>
                  <a:pt x="11011849" y="741857"/>
                  <a:pt x="11014440" y="741455"/>
                  <a:pt x="11017433" y="741455"/>
                </a:cubicBezTo>
                <a:cubicBezTo>
                  <a:pt x="11022324" y="741455"/>
                  <a:pt x="11026010" y="743025"/>
                  <a:pt x="11028492" y="746127"/>
                </a:cubicBezTo>
                <a:cubicBezTo>
                  <a:pt x="11030974" y="749229"/>
                  <a:pt x="11032215" y="753682"/>
                  <a:pt x="11032215" y="759449"/>
                </a:cubicBezTo>
                <a:lnTo>
                  <a:pt x="11032215" y="765982"/>
                </a:lnTo>
                <a:cubicBezTo>
                  <a:pt x="11025134" y="766128"/>
                  <a:pt x="11019075" y="766712"/>
                  <a:pt x="11014039" y="767734"/>
                </a:cubicBezTo>
                <a:cubicBezTo>
                  <a:pt x="11009002" y="768756"/>
                  <a:pt x="11004878" y="770070"/>
                  <a:pt x="11001666" y="771749"/>
                </a:cubicBezTo>
                <a:cubicBezTo>
                  <a:pt x="10998454" y="773428"/>
                  <a:pt x="10996081" y="775399"/>
                  <a:pt x="10994585" y="777662"/>
                </a:cubicBezTo>
                <a:cubicBezTo>
                  <a:pt x="10993088" y="779925"/>
                  <a:pt x="10992322" y="782370"/>
                  <a:pt x="10992322" y="784998"/>
                </a:cubicBezTo>
                <a:cubicBezTo>
                  <a:pt x="10992322" y="787845"/>
                  <a:pt x="10992796" y="790254"/>
                  <a:pt x="10993745" y="792298"/>
                </a:cubicBezTo>
                <a:cubicBezTo>
                  <a:pt x="10994694" y="794342"/>
                  <a:pt x="10995935" y="796021"/>
                  <a:pt x="10997505" y="797298"/>
                </a:cubicBezTo>
                <a:cubicBezTo>
                  <a:pt x="10999074" y="798576"/>
                  <a:pt x="11000863" y="799561"/>
                  <a:pt x="11002870" y="800181"/>
                </a:cubicBezTo>
                <a:cubicBezTo>
                  <a:pt x="11004878" y="800802"/>
                  <a:pt x="11006958" y="801130"/>
                  <a:pt x="11009075" y="801130"/>
                </a:cubicBezTo>
                <a:cubicBezTo>
                  <a:pt x="11011593" y="801130"/>
                  <a:pt x="11013966" y="800838"/>
                  <a:pt x="11016083" y="800364"/>
                </a:cubicBezTo>
                <a:cubicBezTo>
                  <a:pt x="11018199" y="799890"/>
                  <a:pt x="11020207" y="799160"/>
                  <a:pt x="11022032" y="798247"/>
                </a:cubicBezTo>
                <a:cubicBezTo>
                  <a:pt x="11023857" y="797335"/>
                  <a:pt x="11025645" y="796203"/>
                  <a:pt x="11027324" y="794853"/>
                </a:cubicBezTo>
                <a:cubicBezTo>
                  <a:pt x="11029003" y="793502"/>
                  <a:pt x="11030718" y="792006"/>
                  <a:pt x="11032434" y="790327"/>
                </a:cubicBezTo>
                <a:lnTo>
                  <a:pt x="11033310" y="798357"/>
                </a:lnTo>
                <a:cubicBezTo>
                  <a:pt x="11033602" y="799525"/>
                  <a:pt x="11034405" y="800109"/>
                  <a:pt x="11035646" y="800109"/>
                </a:cubicBezTo>
                <a:lnTo>
                  <a:pt x="11038018" y="800109"/>
                </a:lnTo>
                <a:lnTo>
                  <a:pt x="11038018" y="759449"/>
                </a:lnTo>
                <a:cubicBezTo>
                  <a:pt x="11038018" y="755982"/>
                  <a:pt x="11037617" y="752806"/>
                  <a:pt x="11036777" y="749996"/>
                </a:cubicBezTo>
                <a:cubicBezTo>
                  <a:pt x="11035938" y="747149"/>
                  <a:pt x="11034697" y="744740"/>
                  <a:pt x="11033054" y="742769"/>
                </a:cubicBezTo>
                <a:cubicBezTo>
                  <a:pt x="11031412" y="740798"/>
                  <a:pt x="11029332" y="739265"/>
                  <a:pt x="11026813" y="738207"/>
                </a:cubicBezTo>
                <a:cubicBezTo>
                  <a:pt x="11024295" y="737148"/>
                  <a:pt x="11021375" y="736601"/>
                  <a:pt x="11018017" y="736601"/>
                </a:cubicBezTo>
                <a:close/>
                <a:moveTo>
                  <a:pt x="11832117" y="734703"/>
                </a:moveTo>
                <a:cubicBezTo>
                  <a:pt x="11830219" y="734703"/>
                  <a:pt x="11828430" y="734922"/>
                  <a:pt x="11826824" y="735360"/>
                </a:cubicBezTo>
                <a:cubicBezTo>
                  <a:pt x="11825219" y="735798"/>
                  <a:pt x="11823686" y="736382"/>
                  <a:pt x="11822299" y="737148"/>
                </a:cubicBezTo>
                <a:cubicBezTo>
                  <a:pt x="11820912" y="737915"/>
                  <a:pt x="11819598" y="738791"/>
                  <a:pt x="11818357" y="739849"/>
                </a:cubicBezTo>
                <a:cubicBezTo>
                  <a:pt x="11817116" y="740908"/>
                  <a:pt x="11815948" y="742076"/>
                  <a:pt x="11814816" y="743317"/>
                </a:cubicBezTo>
                <a:lnTo>
                  <a:pt x="11813794" y="738535"/>
                </a:lnTo>
                <a:cubicBezTo>
                  <a:pt x="11813174" y="736674"/>
                  <a:pt x="11811860" y="735725"/>
                  <a:pt x="11809853" y="735725"/>
                </a:cubicBezTo>
                <a:lnTo>
                  <a:pt x="11800363" y="735725"/>
                </a:lnTo>
                <a:lnTo>
                  <a:pt x="11800363" y="800072"/>
                </a:lnTo>
                <a:lnTo>
                  <a:pt x="11800363" y="800181"/>
                </a:lnTo>
                <a:lnTo>
                  <a:pt x="11815911" y="800181"/>
                </a:lnTo>
                <a:lnTo>
                  <a:pt x="11815911" y="753062"/>
                </a:lnTo>
                <a:cubicBezTo>
                  <a:pt x="11817590" y="751127"/>
                  <a:pt x="11819415" y="749594"/>
                  <a:pt x="11821350" y="748499"/>
                </a:cubicBezTo>
                <a:cubicBezTo>
                  <a:pt x="11823321" y="747368"/>
                  <a:pt x="11825401" y="746821"/>
                  <a:pt x="11827664" y="746821"/>
                </a:cubicBezTo>
                <a:cubicBezTo>
                  <a:pt x="11831022" y="746821"/>
                  <a:pt x="11833540" y="747806"/>
                  <a:pt x="11835292" y="749777"/>
                </a:cubicBezTo>
                <a:cubicBezTo>
                  <a:pt x="11837008" y="751748"/>
                  <a:pt x="11837884" y="754887"/>
                  <a:pt x="11837884" y="759194"/>
                </a:cubicBezTo>
                <a:lnTo>
                  <a:pt x="11837884" y="800145"/>
                </a:lnTo>
                <a:lnTo>
                  <a:pt x="11853432" y="800145"/>
                </a:lnTo>
                <a:lnTo>
                  <a:pt x="11853432" y="759194"/>
                </a:lnTo>
                <a:cubicBezTo>
                  <a:pt x="11853432" y="757186"/>
                  <a:pt x="11853724" y="755398"/>
                  <a:pt x="11854308" y="753865"/>
                </a:cubicBezTo>
                <a:cubicBezTo>
                  <a:pt x="11854892" y="752295"/>
                  <a:pt x="11855695" y="751018"/>
                  <a:pt x="11856717" y="749996"/>
                </a:cubicBezTo>
                <a:cubicBezTo>
                  <a:pt x="11857739" y="748974"/>
                  <a:pt x="11858943" y="748207"/>
                  <a:pt x="11860294" y="747660"/>
                </a:cubicBezTo>
                <a:cubicBezTo>
                  <a:pt x="11861644" y="747113"/>
                  <a:pt x="11863104" y="746857"/>
                  <a:pt x="11864710" y="746857"/>
                </a:cubicBezTo>
                <a:cubicBezTo>
                  <a:pt x="11868214" y="746857"/>
                  <a:pt x="11870842" y="747879"/>
                  <a:pt x="11872630" y="749959"/>
                </a:cubicBezTo>
                <a:cubicBezTo>
                  <a:pt x="11874419" y="752003"/>
                  <a:pt x="11875331" y="755106"/>
                  <a:pt x="11875331" y="759194"/>
                </a:cubicBezTo>
                <a:lnTo>
                  <a:pt x="11875331" y="800145"/>
                </a:lnTo>
                <a:lnTo>
                  <a:pt x="11890806" y="800145"/>
                </a:lnTo>
                <a:lnTo>
                  <a:pt x="11890806" y="759194"/>
                </a:lnTo>
                <a:cubicBezTo>
                  <a:pt x="11890806" y="755288"/>
                  <a:pt x="11890332" y="751821"/>
                  <a:pt x="11889346" y="748828"/>
                </a:cubicBezTo>
                <a:cubicBezTo>
                  <a:pt x="11888361" y="745799"/>
                  <a:pt x="11886938" y="743244"/>
                  <a:pt x="11885040" y="741163"/>
                </a:cubicBezTo>
                <a:cubicBezTo>
                  <a:pt x="11883142" y="739046"/>
                  <a:pt x="11880842" y="737477"/>
                  <a:pt x="11878068" y="736382"/>
                </a:cubicBezTo>
                <a:cubicBezTo>
                  <a:pt x="11875295" y="735287"/>
                  <a:pt x="11872119" y="734740"/>
                  <a:pt x="11868579" y="734740"/>
                </a:cubicBezTo>
                <a:cubicBezTo>
                  <a:pt x="11866498" y="734740"/>
                  <a:pt x="11864491" y="734959"/>
                  <a:pt x="11862447" y="735433"/>
                </a:cubicBezTo>
                <a:cubicBezTo>
                  <a:pt x="11860440" y="735871"/>
                  <a:pt x="11858505" y="736601"/>
                  <a:pt x="11856717" y="737550"/>
                </a:cubicBezTo>
                <a:cubicBezTo>
                  <a:pt x="11854892" y="738499"/>
                  <a:pt x="11853249" y="739740"/>
                  <a:pt x="11851753" y="741273"/>
                </a:cubicBezTo>
                <a:cubicBezTo>
                  <a:pt x="11850257" y="742769"/>
                  <a:pt x="11849016" y="744631"/>
                  <a:pt x="11847994" y="746748"/>
                </a:cubicBezTo>
                <a:cubicBezTo>
                  <a:pt x="11846680" y="743098"/>
                  <a:pt x="11844745" y="740178"/>
                  <a:pt x="11842117" y="737988"/>
                </a:cubicBezTo>
                <a:cubicBezTo>
                  <a:pt x="11839490" y="735798"/>
                  <a:pt x="11836168" y="734703"/>
                  <a:pt x="11832117" y="734703"/>
                </a:cubicBezTo>
                <a:close/>
                <a:moveTo>
                  <a:pt x="11727038" y="734703"/>
                </a:moveTo>
                <a:cubicBezTo>
                  <a:pt x="11725140" y="734703"/>
                  <a:pt x="11723351" y="734922"/>
                  <a:pt x="11721745" y="735360"/>
                </a:cubicBezTo>
                <a:cubicBezTo>
                  <a:pt x="11720140" y="735798"/>
                  <a:pt x="11718607" y="736382"/>
                  <a:pt x="11717220" y="737148"/>
                </a:cubicBezTo>
                <a:cubicBezTo>
                  <a:pt x="11715833" y="737915"/>
                  <a:pt x="11714519" y="738791"/>
                  <a:pt x="11713278" y="739849"/>
                </a:cubicBezTo>
                <a:cubicBezTo>
                  <a:pt x="11712037" y="740908"/>
                  <a:pt x="11710869" y="742076"/>
                  <a:pt x="11709737" y="743317"/>
                </a:cubicBezTo>
                <a:lnTo>
                  <a:pt x="11708715" y="738535"/>
                </a:lnTo>
                <a:cubicBezTo>
                  <a:pt x="11708095" y="736674"/>
                  <a:pt x="11706781" y="735725"/>
                  <a:pt x="11704774" y="735725"/>
                </a:cubicBezTo>
                <a:lnTo>
                  <a:pt x="11695284" y="735725"/>
                </a:lnTo>
                <a:lnTo>
                  <a:pt x="11695284" y="800072"/>
                </a:lnTo>
                <a:lnTo>
                  <a:pt x="11695284" y="800181"/>
                </a:lnTo>
                <a:lnTo>
                  <a:pt x="11710832" y="800181"/>
                </a:lnTo>
                <a:lnTo>
                  <a:pt x="11710832" y="753062"/>
                </a:lnTo>
                <a:cubicBezTo>
                  <a:pt x="11712511" y="751127"/>
                  <a:pt x="11714336" y="749594"/>
                  <a:pt x="11716271" y="748499"/>
                </a:cubicBezTo>
                <a:cubicBezTo>
                  <a:pt x="11718242" y="747368"/>
                  <a:pt x="11720322" y="746821"/>
                  <a:pt x="11722585" y="746821"/>
                </a:cubicBezTo>
                <a:cubicBezTo>
                  <a:pt x="11725943" y="746821"/>
                  <a:pt x="11728461" y="747806"/>
                  <a:pt x="11730213" y="749777"/>
                </a:cubicBezTo>
                <a:cubicBezTo>
                  <a:pt x="11731929" y="751748"/>
                  <a:pt x="11732805" y="754887"/>
                  <a:pt x="11732805" y="759194"/>
                </a:cubicBezTo>
                <a:lnTo>
                  <a:pt x="11732805" y="800145"/>
                </a:lnTo>
                <a:lnTo>
                  <a:pt x="11748353" y="800145"/>
                </a:lnTo>
                <a:lnTo>
                  <a:pt x="11748353" y="759194"/>
                </a:lnTo>
                <a:cubicBezTo>
                  <a:pt x="11748353" y="757186"/>
                  <a:pt x="11748645" y="755398"/>
                  <a:pt x="11749229" y="753865"/>
                </a:cubicBezTo>
                <a:cubicBezTo>
                  <a:pt x="11749813" y="752295"/>
                  <a:pt x="11750616" y="751018"/>
                  <a:pt x="11751638" y="749996"/>
                </a:cubicBezTo>
                <a:cubicBezTo>
                  <a:pt x="11752660" y="748974"/>
                  <a:pt x="11753864" y="748207"/>
                  <a:pt x="11755215" y="747660"/>
                </a:cubicBezTo>
                <a:cubicBezTo>
                  <a:pt x="11756565" y="747113"/>
                  <a:pt x="11758025" y="746857"/>
                  <a:pt x="11759631" y="746857"/>
                </a:cubicBezTo>
                <a:cubicBezTo>
                  <a:pt x="11763135" y="746857"/>
                  <a:pt x="11765763" y="747879"/>
                  <a:pt x="11767551" y="749959"/>
                </a:cubicBezTo>
                <a:cubicBezTo>
                  <a:pt x="11769340" y="752003"/>
                  <a:pt x="11770252" y="755106"/>
                  <a:pt x="11770252" y="759194"/>
                </a:cubicBezTo>
                <a:lnTo>
                  <a:pt x="11770252" y="800145"/>
                </a:lnTo>
                <a:lnTo>
                  <a:pt x="11785727" y="800145"/>
                </a:lnTo>
                <a:lnTo>
                  <a:pt x="11785727" y="759194"/>
                </a:lnTo>
                <a:cubicBezTo>
                  <a:pt x="11785727" y="755288"/>
                  <a:pt x="11785253" y="751821"/>
                  <a:pt x="11784267" y="748828"/>
                </a:cubicBezTo>
                <a:cubicBezTo>
                  <a:pt x="11783282" y="745799"/>
                  <a:pt x="11781859" y="743244"/>
                  <a:pt x="11779961" y="741163"/>
                </a:cubicBezTo>
                <a:cubicBezTo>
                  <a:pt x="11778063" y="739046"/>
                  <a:pt x="11775763" y="737477"/>
                  <a:pt x="11772989" y="736382"/>
                </a:cubicBezTo>
                <a:cubicBezTo>
                  <a:pt x="11770216" y="735287"/>
                  <a:pt x="11767040" y="734740"/>
                  <a:pt x="11763500" y="734740"/>
                </a:cubicBezTo>
                <a:cubicBezTo>
                  <a:pt x="11761419" y="734740"/>
                  <a:pt x="11759412" y="734959"/>
                  <a:pt x="11757368" y="735433"/>
                </a:cubicBezTo>
                <a:cubicBezTo>
                  <a:pt x="11755361" y="735871"/>
                  <a:pt x="11753426" y="736601"/>
                  <a:pt x="11751638" y="737550"/>
                </a:cubicBezTo>
                <a:cubicBezTo>
                  <a:pt x="11749813" y="738499"/>
                  <a:pt x="11748170" y="739740"/>
                  <a:pt x="11746674" y="741273"/>
                </a:cubicBezTo>
                <a:cubicBezTo>
                  <a:pt x="11745178" y="742769"/>
                  <a:pt x="11743937" y="744631"/>
                  <a:pt x="11742915" y="746748"/>
                </a:cubicBezTo>
                <a:cubicBezTo>
                  <a:pt x="11741601" y="743098"/>
                  <a:pt x="11739666" y="740178"/>
                  <a:pt x="11737038" y="737988"/>
                </a:cubicBezTo>
                <a:cubicBezTo>
                  <a:pt x="11734410" y="735798"/>
                  <a:pt x="11731089" y="734703"/>
                  <a:pt x="11727038" y="734703"/>
                </a:cubicBezTo>
                <a:close/>
                <a:moveTo>
                  <a:pt x="11656814" y="734557"/>
                </a:moveTo>
                <a:cubicBezTo>
                  <a:pt x="11646412" y="734557"/>
                  <a:pt x="11637507" y="737915"/>
                  <a:pt x="11630097" y="744704"/>
                </a:cubicBezTo>
                <a:lnTo>
                  <a:pt x="11632725" y="749740"/>
                </a:lnTo>
                <a:cubicBezTo>
                  <a:pt x="11633200" y="750470"/>
                  <a:pt x="11633784" y="751164"/>
                  <a:pt x="11634550" y="751711"/>
                </a:cubicBezTo>
                <a:cubicBezTo>
                  <a:pt x="11635317" y="752259"/>
                  <a:pt x="11636229" y="752551"/>
                  <a:pt x="11637324" y="752551"/>
                </a:cubicBezTo>
                <a:cubicBezTo>
                  <a:pt x="11638602" y="752551"/>
                  <a:pt x="11639733" y="752259"/>
                  <a:pt x="11640755" y="751675"/>
                </a:cubicBezTo>
                <a:cubicBezTo>
                  <a:pt x="11641777" y="751091"/>
                  <a:pt x="11642945" y="750434"/>
                  <a:pt x="11644186" y="749704"/>
                </a:cubicBezTo>
                <a:cubicBezTo>
                  <a:pt x="11645427" y="748974"/>
                  <a:pt x="11646887" y="748317"/>
                  <a:pt x="11648529" y="747733"/>
                </a:cubicBezTo>
                <a:cubicBezTo>
                  <a:pt x="11650172" y="747149"/>
                  <a:pt x="11652252" y="746857"/>
                  <a:pt x="11654770" y="746857"/>
                </a:cubicBezTo>
                <a:cubicBezTo>
                  <a:pt x="11658238" y="746857"/>
                  <a:pt x="11660902" y="747879"/>
                  <a:pt x="11662727" y="749959"/>
                </a:cubicBezTo>
                <a:cubicBezTo>
                  <a:pt x="11664588" y="752040"/>
                  <a:pt x="11665501" y="755215"/>
                  <a:pt x="11665501" y="759522"/>
                </a:cubicBezTo>
                <a:lnTo>
                  <a:pt x="11665501" y="763281"/>
                </a:lnTo>
                <a:cubicBezTo>
                  <a:pt x="11660610" y="763391"/>
                  <a:pt x="11656267" y="763756"/>
                  <a:pt x="11652471" y="764376"/>
                </a:cubicBezTo>
                <a:cubicBezTo>
                  <a:pt x="11648675" y="764960"/>
                  <a:pt x="11645317" y="765763"/>
                  <a:pt x="11642470" y="766712"/>
                </a:cubicBezTo>
                <a:cubicBezTo>
                  <a:pt x="11639623" y="767698"/>
                  <a:pt x="11637215" y="768829"/>
                  <a:pt x="11635244" y="770107"/>
                </a:cubicBezTo>
                <a:cubicBezTo>
                  <a:pt x="11633309" y="771384"/>
                  <a:pt x="11631703" y="772771"/>
                  <a:pt x="11630462" y="774231"/>
                </a:cubicBezTo>
                <a:cubicBezTo>
                  <a:pt x="11629221" y="775691"/>
                  <a:pt x="11628345" y="777224"/>
                  <a:pt x="11627798" y="778830"/>
                </a:cubicBezTo>
                <a:cubicBezTo>
                  <a:pt x="11627250" y="780436"/>
                  <a:pt x="11626995" y="782042"/>
                  <a:pt x="11626995" y="783684"/>
                </a:cubicBezTo>
                <a:cubicBezTo>
                  <a:pt x="11626995" y="786567"/>
                  <a:pt x="11627469" y="789086"/>
                  <a:pt x="11628382" y="791276"/>
                </a:cubicBezTo>
                <a:cubicBezTo>
                  <a:pt x="11629331" y="793466"/>
                  <a:pt x="11630608" y="795291"/>
                  <a:pt x="11632287" y="796751"/>
                </a:cubicBezTo>
                <a:cubicBezTo>
                  <a:pt x="11633966" y="798210"/>
                  <a:pt x="11635937" y="799305"/>
                  <a:pt x="11638237" y="800035"/>
                </a:cubicBezTo>
                <a:cubicBezTo>
                  <a:pt x="11640536" y="800765"/>
                  <a:pt x="11643054" y="801130"/>
                  <a:pt x="11645755" y="801130"/>
                </a:cubicBezTo>
                <a:cubicBezTo>
                  <a:pt x="11648055" y="801130"/>
                  <a:pt x="11650172" y="800948"/>
                  <a:pt x="11652070" y="800546"/>
                </a:cubicBezTo>
                <a:cubicBezTo>
                  <a:pt x="11653967" y="800145"/>
                  <a:pt x="11655756" y="799597"/>
                  <a:pt x="11657435" y="798831"/>
                </a:cubicBezTo>
                <a:cubicBezTo>
                  <a:pt x="11659077" y="798101"/>
                  <a:pt x="11660720" y="797152"/>
                  <a:pt x="11662253" y="796057"/>
                </a:cubicBezTo>
                <a:cubicBezTo>
                  <a:pt x="11663822" y="794926"/>
                  <a:pt x="11665392" y="793648"/>
                  <a:pt x="11667034" y="792188"/>
                </a:cubicBezTo>
                <a:lnTo>
                  <a:pt x="11668421" y="796824"/>
                </a:lnTo>
                <a:cubicBezTo>
                  <a:pt x="11668895" y="798174"/>
                  <a:pt x="11669516" y="799050"/>
                  <a:pt x="11670319" y="799488"/>
                </a:cubicBezTo>
                <a:cubicBezTo>
                  <a:pt x="11671122" y="799926"/>
                  <a:pt x="11672253" y="800145"/>
                  <a:pt x="11673713" y="800145"/>
                </a:cubicBezTo>
                <a:lnTo>
                  <a:pt x="11680721" y="800145"/>
                </a:lnTo>
                <a:lnTo>
                  <a:pt x="11680721" y="759485"/>
                </a:lnTo>
                <a:cubicBezTo>
                  <a:pt x="11680721" y="755836"/>
                  <a:pt x="11680173" y="752514"/>
                  <a:pt x="11679115" y="749448"/>
                </a:cubicBezTo>
                <a:cubicBezTo>
                  <a:pt x="11678056" y="746383"/>
                  <a:pt x="11676487" y="743755"/>
                  <a:pt x="11674443" y="741565"/>
                </a:cubicBezTo>
                <a:cubicBezTo>
                  <a:pt x="11672399" y="739375"/>
                  <a:pt x="11669881" y="737659"/>
                  <a:pt x="11666924" y="736418"/>
                </a:cubicBezTo>
                <a:cubicBezTo>
                  <a:pt x="11663932" y="735177"/>
                  <a:pt x="11660574" y="734557"/>
                  <a:pt x="11656814" y="734557"/>
                </a:cubicBezTo>
                <a:close/>
                <a:moveTo>
                  <a:pt x="11525784" y="716089"/>
                </a:moveTo>
                <a:cubicBezTo>
                  <a:pt x="11524872" y="716089"/>
                  <a:pt x="11524105" y="716308"/>
                  <a:pt x="11523521" y="716782"/>
                </a:cubicBezTo>
                <a:cubicBezTo>
                  <a:pt x="11522937" y="717220"/>
                  <a:pt x="11522536" y="717877"/>
                  <a:pt x="11522317" y="718717"/>
                </a:cubicBezTo>
                <a:lnTo>
                  <a:pt x="11519069" y="736273"/>
                </a:lnTo>
                <a:lnTo>
                  <a:pt x="11508703" y="737952"/>
                </a:lnTo>
                <a:lnTo>
                  <a:pt x="11508703" y="744083"/>
                </a:lnTo>
                <a:cubicBezTo>
                  <a:pt x="11508703" y="745178"/>
                  <a:pt x="11508995" y="745981"/>
                  <a:pt x="11509579" y="746529"/>
                </a:cubicBezTo>
                <a:cubicBezTo>
                  <a:pt x="11510163" y="747076"/>
                  <a:pt x="11510856" y="747332"/>
                  <a:pt x="11511696" y="747332"/>
                </a:cubicBezTo>
                <a:lnTo>
                  <a:pt x="11518266" y="747332"/>
                </a:lnTo>
                <a:lnTo>
                  <a:pt x="11518266" y="783283"/>
                </a:lnTo>
                <a:cubicBezTo>
                  <a:pt x="11518266" y="788831"/>
                  <a:pt x="11519762" y="793210"/>
                  <a:pt x="11522755" y="796349"/>
                </a:cubicBezTo>
                <a:cubicBezTo>
                  <a:pt x="11525748" y="799525"/>
                  <a:pt x="11530018" y="801094"/>
                  <a:pt x="11535639" y="801094"/>
                </a:cubicBezTo>
                <a:cubicBezTo>
                  <a:pt x="11538778" y="801094"/>
                  <a:pt x="11541807" y="800620"/>
                  <a:pt x="11544764" y="799671"/>
                </a:cubicBezTo>
                <a:cubicBezTo>
                  <a:pt x="11547683" y="798722"/>
                  <a:pt x="11550275" y="797298"/>
                  <a:pt x="11552538" y="795400"/>
                </a:cubicBezTo>
                <a:lnTo>
                  <a:pt x="11547902" y="787882"/>
                </a:lnTo>
                <a:cubicBezTo>
                  <a:pt x="11547574" y="787444"/>
                  <a:pt x="11547245" y="787079"/>
                  <a:pt x="11546953" y="786860"/>
                </a:cubicBezTo>
                <a:cubicBezTo>
                  <a:pt x="11546661" y="786641"/>
                  <a:pt x="11546297" y="786531"/>
                  <a:pt x="11545822" y="786531"/>
                </a:cubicBezTo>
                <a:cubicBezTo>
                  <a:pt x="11545457" y="786531"/>
                  <a:pt x="11545056" y="786641"/>
                  <a:pt x="11544691" y="786860"/>
                </a:cubicBezTo>
                <a:cubicBezTo>
                  <a:pt x="11544326" y="787115"/>
                  <a:pt x="11543888" y="787334"/>
                  <a:pt x="11543413" y="787590"/>
                </a:cubicBezTo>
                <a:cubicBezTo>
                  <a:pt x="11542939" y="787845"/>
                  <a:pt x="11542391" y="788101"/>
                  <a:pt x="11541734" y="788320"/>
                </a:cubicBezTo>
                <a:cubicBezTo>
                  <a:pt x="11541077" y="788539"/>
                  <a:pt x="11540274" y="788648"/>
                  <a:pt x="11539325" y="788648"/>
                </a:cubicBezTo>
                <a:cubicBezTo>
                  <a:pt x="11537610" y="788648"/>
                  <a:pt x="11536259" y="788101"/>
                  <a:pt x="11535274" y="786969"/>
                </a:cubicBezTo>
                <a:cubicBezTo>
                  <a:pt x="11534288" y="785838"/>
                  <a:pt x="11533814" y="784268"/>
                  <a:pt x="11533814" y="782261"/>
                </a:cubicBezTo>
                <a:lnTo>
                  <a:pt x="11533814" y="747368"/>
                </a:lnTo>
                <a:lnTo>
                  <a:pt x="11551005" y="747368"/>
                </a:lnTo>
                <a:lnTo>
                  <a:pt x="11551005" y="736346"/>
                </a:lnTo>
                <a:lnTo>
                  <a:pt x="11533814" y="736346"/>
                </a:lnTo>
                <a:lnTo>
                  <a:pt x="11533814" y="716089"/>
                </a:lnTo>
                <a:close/>
                <a:moveTo>
                  <a:pt x="11381688" y="708826"/>
                </a:moveTo>
                <a:lnTo>
                  <a:pt x="11381688" y="745836"/>
                </a:lnTo>
                <a:cubicBezTo>
                  <a:pt x="11379389" y="742770"/>
                  <a:pt x="11376688" y="740470"/>
                  <a:pt x="11373585" y="738937"/>
                </a:cubicBezTo>
                <a:cubicBezTo>
                  <a:pt x="11370483" y="737368"/>
                  <a:pt x="11366833" y="736601"/>
                  <a:pt x="11362599" y="736601"/>
                </a:cubicBezTo>
                <a:cubicBezTo>
                  <a:pt x="11358183" y="736601"/>
                  <a:pt x="11354314" y="737441"/>
                  <a:pt x="11350956" y="739120"/>
                </a:cubicBezTo>
                <a:cubicBezTo>
                  <a:pt x="11347599" y="740799"/>
                  <a:pt x="11344752" y="743062"/>
                  <a:pt x="11342452" y="745982"/>
                </a:cubicBezTo>
                <a:cubicBezTo>
                  <a:pt x="11340116" y="748901"/>
                  <a:pt x="11338401" y="752296"/>
                  <a:pt x="11337196" y="756274"/>
                </a:cubicBezTo>
                <a:cubicBezTo>
                  <a:pt x="11335992" y="760252"/>
                  <a:pt x="11335408" y="764486"/>
                  <a:pt x="11335408" y="769049"/>
                </a:cubicBezTo>
                <a:cubicBezTo>
                  <a:pt x="11335408" y="779670"/>
                  <a:pt x="11337525" y="787663"/>
                  <a:pt x="11341795" y="792955"/>
                </a:cubicBezTo>
                <a:cubicBezTo>
                  <a:pt x="11346066" y="798247"/>
                  <a:pt x="11352051" y="800912"/>
                  <a:pt x="11359753" y="800912"/>
                </a:cubicBezTo>
                <a:cubicBezTo>
                  <a:pt x="11364351" y="800912"/>
                  <a:pt x="11368476" y="799817"/>
                  <a:pt x="11372162" y="797591"/>
                </a:cubicBezTo>
                <a:cubicBezTo>
                  <a:pt x="11375848" y="795364"/>
                  <a:pt x="11379060" y="792371"/>
                  <a:pt x="11381834" y="788612"/>
                </a:cubicBezTo>
                <a:lnTo>
                  <a:pt x="11382455" y="798466"/>
                </a:lnTo>
                <a:cubicBezTo>
                  <a:pt x="11382637" y="799561"/>
                  <a:pt x="11383258" y="800109"/>
                  <a:pt x="11384353" y="800109"/>
                </a:cubicBezTo>
                <a:lnTo>
                  <a:pt x="11387601" y="800109"/>
                </a:lnTo>
                <a:lnTo>
                  <a:pt x="11387601" y="708826"/>
                </a:lnTo>
                <a:close/>
                <a:moveTo>
                  <a:pt x="11058530" y="708826"/>
                </a:moveTo>
                <a:lnTo>
                  <a:pt x="11058530" y="800109"/>
                </a:lnTo>
                <a:lnTo>
                  <a:pt x="11064552" y="800109"/>
                </a:lnTo>
                <a:lnTo>
                  <a:pt x="11064552" y="708826"/>
                </a:lnTo>
                <a:close/>
                <a:moveTo>
                  <a:pt x="11560896" y="706855"/>
                </a:moveTo>
                <a:lnTo>
                  <a:pt x="11560896" y="800072"/>
                </a:lnTo>
                <a:lnTo>
                  <a:pt x="11576371" y="800072"/>
                </a:lnTo>
                <a:lnTo>
                  <a:pt x="11576371" y="753537"/>
                </a:lnTo>
                <a:cubicBezTo>
                  <a:pt x="11578452" y="751420"/>
                  <a:pt x="11580678" y="749777"/>
                  <a:pt x="11583014" y="748573"/>
                </a:cubicBezTo>
                <a:cubicBezTo>
                  <a:pt x="11585350" y="747368"/>
                  <a:pt x="11587868" y="746748"/>
                  <a:pt x="11590533" y="746748"/>
                </a:cubicBezTo>
                <a:cubicBezTo>
                  <a:pt x="11594219" y="746748"/>
                  <a:pt x="11596957" y="747843"/>
                  <a:pt x="11598745" y="749996"/>
                </a:cubicBezTo>
                <a:cubicBezTo>
                  <a:pt x="11600533" y="752150"/>
                  <a:pt x="11601446" y="755179"/>
                  <a:pt x="11601446" y="759121"/>
                </a:cubicBezTo>
                <a:lnTo>
                  <a:pt x="11601446" y="800072"/>
                </a:lnTo>
                <a:lnTo>
                  <a:pt x="11616921" y="800072"/>
                </a:lnTo>
                <a:lnTo>
                  <a:pt x="11616921" y="759121"/>
                </a:lnTo>
                <a:cubicBezTo>
                  <a:pt x="11616921" y="755508"/>
                  <a:pt x="11616447" y="752223"/>
                  <a:pt x="11615498" y="749230"/>
                </a:cubicBezTo>
                <a:cubicBezTo>
                  <a:pt x="11614585" y="746237"/>
                  <a:pt x="11613198" y="743682"/>
                  <a:pt x="11611373" y="741529"/>
                </a:cubicBezTo>
                <a:cubicBezTo>
                  <a:pt x="11609585" y="739375"/>
                  <a:pt x="11607286" y="737733"/>
                  <a:pt x="11604585" y="736528"/>
                </a:cubicBezTo>
                <a:cubicBezTo>
                  <a:pt x="11601884" y="735324"/>
                  <a:pt x="11598745" y="734740"/>
                  <a:pt x="11595241" y="734740"/>
                </a:cubicBezTo>
                <a:cubicBezTo>
                  <a:pt x="11591190" y="734740"/>
                  <a:pt x="11587649" y="735470"/>
                  <a:pt x="11584657" y="736930"/>
                </a:cubicBezTo>
                <a:cubicBezTo>
                  <a:pt x="11581627" y="738390"/>
                  <a:pt x="11578890" y="740288"/>
                  <a:pt x="11576371" y="742624"/>
                </a:cubicBezTo>
                <a:lnTo>
                  <a:pt x="11576371" y="706855"/>
                </a:lnTo>
                <a:close/>
                <a:moveTo>
                  <a:pt x="11321539" y="434247"/>
                </a:moveTo>
                <a:lnTo>
                  <a:pt x="11348438" y="434247"/>
                </a:lnTo>
                <a:lnTo>
                  <a:pt x="11348438" y="438846"/>
                </a:lnTo>
                <a:cubicBezTo>
                  <a:pt x="11348438" y="462825"/>
                  <a:pt x="11343548" y="481513"/>
                  <a:pt x="11333730" y="494871"/>
                </a:cubicBezTo>
                <a:cubicBezTo>
                  <a:pt x="11323911" y="508230"/>
                  <a:pt x="11310115" y="514909"/>
                  <a:pt x="11292340" y="514909"/>
                </a:cubicBezTo>
                <a:cubicBezTo>
                  <a:pt x="11280515" y="514909"/>
                  <a:pt x="11271171" y="511478"/>
                  <a:pt x="11264273" y="504616"/>
                </a:cubicBezTo>
                <a:cubicBezTo>
                  <a:pt x="11257375" y="497718"/>
                  <a:pt x="11253907" y="488484"/>
                  <a:pt x="11253907" y="476877"/>
                </a:cubicBezTo>
                <a:cubicBezTo>
                  <a:pt x="11253907" y="461292"/>
                  <a:pt x="11258907" y="450306"/>
                  <a:pt x="11268872" y="443883"/>
                </a:cubicBezTo>
                <a:cubicBezTo>
                  <a:pt x="11278836" y="437459"/>
                  <a:pt x="11296391" y="434247"/>
                  <a:pt x="11321539" y="434247"/>
                </a:cubicBezTo>
                <a:close/>
                <a:moveTo>
                  <a:pt x="11301684" y="291866"/>
                </a:moveTo>
                <a:cubicBezTo>
                  <a:pt x="11284566" y="291866"/>
                  <a:pt x="11268361" y="293289"/>
                  <a:pt x="11253068" y="296209"/>
                </a:cubicBezTo>
                <a:cubicBezTo>
                  <a:pt x="11237775" y="299129"/>
                  <a:pt x="11222701" y="303619"/>
                  <a:pt x="11207882" y="309750"/>
                </a:cubicBezTo>
                <a:lnTo>
                  <a:pt x="11207882" y="367053"/>
                </a:lnTo>
                <a:cubicBezTo>
                  <a:pt x="11224270" y="358147"/>
                  <a:pt x="11239965" y="351651"/>
                  <a:pt x="11255039" y="347599"/>
                </a:cubicBezTo>
                <a:cubicBezTo>
                  <a:pt x="11270113" y="343548"/>
                  <a:pt x="11285661" y="341504"/>
                  <a:pt x="11301720" y="341504"/>
                </a:cubicBezTo>
                <a:cubicBezTo>
                  <a:pt x="11317050" y="341504"/>
                  <a:pt x="11328693" y="344314"/>
                  <a:pt x="11336576" y="349899"/>
                </a:cubicBezTo>
                <a:cubicBezTo>
                  <a:pt x="11344497" y="355483"/>
                  <a:pt x="11348438" y="363695"/>
                  <a:pt x="11348438" y="374572"/>
                </a:cubicBezTo>
                <a:lnTo>
                  <a:pt x="11348438" y="385667"/>
                </a:lnTo>
                <a:lnTo>
                  <a:pt x="11301757" y="385667"/>
                </a:lnTo>
                <a:cubicBezTo>
                  <a:pt x="11261061" y="385667"/>
                  <a:pt x="11230986" y="392785"/>
                  <a:pt x="11211532" y="407128"/>
                </a:cubicBezTo>
                <a:cubicBezTo>
                  <a:pt x="11192079" y="421472"/>
                  <a:pt x="11182370" y="443627"/>
                  <a:pt x="11182370" y="473629"/>
                </a:cubicBezTo>
                <a:cubicBezTo>
                  <a:pt x="11182370" y="501368"/>
                  <a:pt x="11190509" y="522975"/>
                  <a:pt x="11206824" y="538414"/>
                </a:cubicBezTo>
                <a:cubicBezTo>
                  <a:pt x="11223139" y="553853"/>
                  <a:pt x="11245914" y="561590"/>
                  <a:pt x="11275149" y="561590"/>
                </a:cubicBezTo>
                <a:cubicBezTo>
                  <a:pt x="11290479" y="561590"/>
                  <a:pt x="11304494" y="558525"/>
                  <a:pt x="11317196" y="552393"/>
                </a:cubicBezTo>
                <a:cubicBezTo>
                  <a:pt x="11329897" y="546261"/>
                  <a:pt x="11340336" y="537538"/>
                  <a:pt x="11348438" y="526187"/>
                </a:cubicBezTo>
                <a:lnTo>
                  <a:pt x="11348438" y="555021"/>
                </a:lnTo>
                <a:lnTo>
                  <a:pt x="11415231" y="555021"/>
                </a:lnTo>
                <a:lnTo>
                  <a:pt x="11415231" y="408223"/>
                </a:lnTo>
                <a:cubicBezTo>
                  <a:pt x="11415231" y="364571"/>
                  <a:pt x="11406763" y="334277"/>
                  <a:pt x="11389791" y="317306"/>
                </a:cubicBezTo>
                <a:cubicBezTo>
                  <a:pt x="11372856" y="300334"/>
                  <a:pt x="11343475" y="291866"/>
                  <a:pt x="11301684" y="291866"/>
                </a:cubicBezTo>
                <a:close/>
                <a:moveTo>
                  <a:pt x="11492899" y="225110"/>
                </a:moveTo>
                <a:lnTo>
                  <a:pt x="11492899" y="298107"/>
                </a:lnTo>
                <a:lnTo>
                  <a:pt x="11427202" y="298107"/>
                </a:lnTo>
                <a:lnTo>
                  <a:pt x="11427202" y="349935"/>
                </a:lnTo>
                <a:lnTo>
                  <a:pt x="11492899" y="349935"/>
                </a:lnTo>
                <a:lnTo>
                  <a:pt x="11492899" y="467971"/>
                </a:lnTo>
                <a:cubicBezTo>
                  <a:pt x="11492899" y="501368"/>
                  <a:pt x="11499688" y="524216"/>
                  <a:pt x="11513302" y="536552"/>
                </a:cubicBezTo>
                <a:cubicBezTo>
                  <a:pt x="11526916" y="548889"/>
                  <a:pt x="11552976" y="555057"/>
                  <a:pt x="11591518" y="555057"/>
                </a:cubicBezTo>
                <a:lnTo>
                  <a:pt x="11648018" y="555057"/>
                </a:lnTo>
                <a:lnTo>
                  <a:pt x="11648018" y="503229"/>
                </a:lnTo>
                <a:lnTo>
                  <a:pt x="11596336" y="503229"/>
                </a:lnTo>
                <a:cubicBezTo>
                  <a:pt x="11583306" y="503229"/>
                  <a:pt x="11573999" y="500747"/>
                  <a:pt x="11568415" y="495783"/>
                </a:cubicBezTo>
                <a:cubicBezTo>
                  <a:pt x="11562831" y="490820"/>
                  <a:pt x="11560020" y="482607"/>
                  <a:pt x="11560020" y="471183"/>
                </a:cubicBezTo>
                <a:lnTo>
                  <a:pt x="11560020" y="349935"/>
                </a:lnTo>
                <a:lnTo>
                  <a:pt x="11647982" y="349935"/>
                </a:lnTo>
                <a:lnTo>
                  <a:pt x="11647982" y="298107"/>
                </a:lnTo>
                <a:lnTo>
                  <a:pt x="11560020" y="298107"/>
                </a:lnTo>
                <a:lnTo>
                  <a:pt x="11560020" y="225110"/>
                </a:lnTo>
                <a:close/>
                <a:moveTo>
                  <a:pt x="11773427" y="198101"/>
                </a:moveTo>
                <a:lnTo>
                  <a:pt x="11773427" y="241534"/>
                </a:lnTo>
                <a:lnTo>
                  <a:pt x="11828905" y="241534"/>
                </a:lnTo>
                <a:lnTo>
                  <a:pt x="11828905" y="573671"/>
                </a:lnTo>
                <a:lnTo>
                  <a:pt x="11773427" y="573671"/>
                </a:lnTo>
                <a:lnTo>
                  <a:pt x="11773427" y="617105"/>
                </a:lnTo>
                <a:lnTo>
                  <a:pt x="11889857" y="617105"/>
                </a:lnTo>
                <a:lnTo>
                  <a:pt x="11889857" y="198101"/>
                </a:lnTo>
                <a:close/>
                <a:moveTo>
                  <a:pt x="10990132" y="197736"/>
                </a:moveTo>
                <a:lnTo>
                  <a:pt x="10990132" y="617105"/>
                </a:lnTo>
                <a:lnTo>
                  <a:pt x="11106635" y="617105"/>
                </a:lnTo>
                <a:lnTo>
                  <a:pt x="11106635" y="573671"/>
                </a:lnTo>
                <a:lnTo>
                  <a:pt x="11051085" y="573671"/>
                </a:lnTo>
                <a:lnTo>
                  <a:pt x="11051085" y="241169"/>
                </a:lnTo>
                <a:lnTo>
                  <a:pt x="11106635" y="241169"/>
                </a:lnTo>
                <a:lnTo>
                  <a:pt x="11106635" y="19773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3780000">
            <a:noAutofit/>
          </a:bodyPr>
          <a:lstStyle>
            <a:lvl1pPr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Place Date">
            <a:extLst>
              <a:ext uri="{FF2B5EF4-FFF2-40B4-BE49-F238E27FC236}">
                <a16:creationId xmlns:a16="http://schemas.microsoft.com/office/drawing/2014/main" id="{D0B2B0F4-C35F-4D04-93FC-4247B16C00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5997600"/>
            <a:ext cx="3121025" cy="360000"/>
          </a:xfrm>
        </p:spPr>
        <p:txBody>
          <a:bodyPr lIns="270000" tIns="36000" rIns="108000" bIns="36000" anchor="ctr"/>
          <a:lstStyle>
            <a:lvl1pPr>
              <a:buNone/>
              <a:defRPr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 dirty="0"/>
              <a:t>Date, YYYY/MM/DD</a:t>
            </a:r>
          </a:p>
        </p:txBody>
      </p:sp>
      <p:sp>
        <p:nvSpPr>
          <p:cNvPr id="10" name="Speaker">
            <a:extLst>
              <a:ext uri="{FF2B5EF4-FFF2-40B4-BE49-F238E27FC236}">
                <a16:creationId xmlns:a16="http://schemas.microsoft.com/office/drawing/2014/main" id="{DEDBF81E-0BA0-42B9-970D-41B65E5839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951099" y="5213821"/>
            <a:ext cx="1240901" cy="353805"/>
          </a:xfrm>
          <a:solidFill>
            <a:schemeClr val="accent2"/>
          </a:solidFill>
        </p:spPr>
        <p:txBody>
          <a:bodyPr wrap="none" lIns="108000" tIns="36000" rIns="270000" bIns="36000">
            <a:spAutoFit/>
          </a:bodyPr>
          <a:lstStyle>
            <a:lvl1pPr algn="r">
              <a:buNone/>
              <a:defRPr sz="1800">
                <a:solidFill>
                  <a:schemeClr val="bg1"/>
                </a:solidFill>
              </a:defRPr>
            </a:lvl1pPr>
            <a:lvl2pPr>
              <a:buNone/>
              <a:defRPr sz="2400">
                <a:solidFill>
                  <a:schemeClr val="bg1"/>
                </a:solidFill>
              </a:defRPr>
            </a:lvl2pPr>
            <a:lvl3pPr>
              <a:buNone/>
              <a:defRPr sz="2400">
                <a:solidFill>
                  <a:schemeClr val="bg1"/>
                </a:solidFill>
              </a:defRPr>
            </a:lvl3pPr>
            <a:lvl4pPr>
              <a:buNone/>
              <a:defRPr sz="2400">
                <a:solidFill>
                  <a:schemeClr val="bg1"/>
                </a:solidFill>
              </a:defRPr>
            </a:lvl4pPr>
            <a:lvl5pPr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peaker</a:t>
            </a:r>
          </a:p>
        </p:txBody>
      </p:sp>
      <p:sp>
        <p:nvSpPr>
          <p:cNvPr id="9" name="Customers name">
            <a:extLst>
              <a:ext uri="{FF2B5EF4-FFF2-40B4-BE49-F238E27FC236}">
                <a16:creationId xmlns:a16="http://schemas.microsoft.com/office/drawing/2014/main" id="{7A0D7D4B-B886-48B0-B26D-08C980F7FE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96186" y="4694400"/>
            <a:ext cx="2795814" cy="447421"/>
          </a:xfrm>
          <a:solidFill>
            <a:schemeClr val="accent2"/>
          </a:solidFill>
        </p:spPr>
        <p:txBody>
          <a:bodyPr wrap="none" lIns="108000" tIns="36000" rIns="270000" bIns="36000">
            <a:spAutoFit/>
          </a:bodyPr>
          <a:lstStyle>
            <a:lvl1pPr algn="r">
              <a:buNone/>
              <a:defRPr sz="2400">
                <a:solidFill>
                  <a:schemeClr val="bg1"/>
                </a:solidFill>
              </a:defRPr>
            </a:lvl1pPr>
            <a:lvl2pPr>
              <a:buNone/>
              <a:defRPr sz="2400">
                <a:solidFill>
                  <a:schemeClr val="bg1"/>
                </a:solidFill>
              </a:defRPr>
            </a:lvl2pPr>
            <a:lvl3pPr>
              <a:buNone/>
              <a:defRPr sz="2400">
                <a:solidFill>
                  <a:schemeClr val="bg1"/>
                </a:solidFill>
              </a:defRPr>
            </a:lvl3pPr>
            <a:lvl4pPr>
              <a:buNone/>
              <a:defRPr sz="2400">
                <a:solidFill>
                  <a:schemeClr val="bg1"/>
                </a:solidFill>
              </a:defRPr>
            </a:lvl4pPr>
            <a:lvl5pPr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err="1"/>
              <a:t>Customer‘s</a:t>
            </a:r>
            <a:r>
              <a:rPr lang="de-DE" dirty="0"/>
              <a:t>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598A73E4-AE9E-4D3F-8366-8B3345DD64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738800"/>
            <a:ext cx="6126854" cy="571301"/>
          </a:xfrm>
        </p:spPr>
        <p:txBody>
          <a:bodyPr lIns="270000" tIns="36000" rIns="108000" bIns="36000" anchor="b">
            <a:spAutoFit/>
          </a:bodyPr>
          <a:lstStyle>
            <a:lvl1pPr algn="l">
              <a:defRPr sz="3600" b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4B7C34D4-F53E-4F5B-A250-D6684A2A60B6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29.09.2022</a:t>
            </a:fld>
            <a:endParaRPr lang="de-DE" dirty="0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F99CE203-DED9-409F-B33D-E89207D40C19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2"/>
            </p:custDataLst>
          </p:nvPr>
        </p:nvSpPr>
        <p:spPr/>
        <p:txBody>
          <a:bodyPr/>
          <a:lstStyle/>
          <a:p>
            <a:endParaRPr lang="de-DE" dirty="0">
              <a:noFill/>
            </a:endParaRP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1A96434E-4BE6-4AE3-A64D-963E6AF76F0D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42A0C3C-A441-4C3F-B9F1-793D433CF6FE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109893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G Orange rechts">
            <a:extLst>
              <a:ext uri="{FF2B5EF4-FFF2-40B4-BE49-F238E27FC236}">
                <a16:creationId xmlns:a16="http://schemas.microsoft.com/office/drawing/2014/main" id="{433EA2F6-21FC-4FB8-8BDB-E6EF8F0DE23F}"/>
              </a:ext>
            </a:extLst>
          </p:cNvPr>
          <p:cNvSpPr/>
          <p:nvPr userDrawn="1"/>
        </p:nvSpPr>
        <p:spPr>
          <a:xfrm>
            <a:off x="11728765" y="147089"/>
            <a:ext cx="210084" cy="5198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110000"/>
              </a:lnSpc>
              <a:spcAft>
                <a:spcPts val="200"/>
              </a:spcAft>
            </a:pPr>
            <a:endParaRPr lang="de-DE" sz="1400" dirty="0"/>
          </a:p>
        </p:txBody>
      </p:sp>
      <p:sp>
        <p:nvSpPr>
          <p:cNvPr id="15" name="HG Orange links">
            <a:extLst>
              <a:ext uri="{FF2B5EF4-FFF2-40B4-BE49-F238E27FC236}">
                <a16:creationId xmlns:a16="http://schemas.microsoft.com/office/drawing/2014/main" id="{B30ECB80-63CC-4980-87D6-379EA04473F5}"/>
              </a:ext>
            </a:extLst>
          </p:cNvPr>
          <p:cNvSpPr/>
          <p:nvPr userDrawn="1"/>
        </p:nvSpPr>
        <p:spPr>
          <a:xfrm>
            <a:off x="10927533" y="147089"/>
            <a:ext cx="210084" cy="5198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110000"/>
              </a:lnSpc>
              <a:spcAft>
                <a:spcPts val="200"/>
              </a:spcAft>
            </a:pPr>
            <a:endParaRPr lang="de-DE" sz="1400" dirty="0"/>
          </a:p>
        </p:txBody>
      </p:sp>
      <p:sp>
        <p:nvSpPr>
          <p:cNvPr id="13" name="Bildplatzhalter">
            <a:extLst>
              <a:ext uri="{FF2B5EF4-FFF2-40B4-BE49-F238E27FC236}">
                <a16:creationId xmlns:a16="http://schemas.microsoft.com/office/drawing/2014/main" id="{94C08070-12A7-42AD-9CE9-B7C3E2993ED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665610 w 12192000"/>
              <a:gd name="connsiteY0" fmla="*/ 772625 h 6858000"/>
              <a:gd name="connsiteX1" fmla="*/ 11665610 w 12192000"/>
              <a:gd name="connsiteY1" fmla="*/ 783465 h 6858000"/>
              <a:gd name="connsiteX2" fmla="*/ 11658822 w 12192000"/>
              <a:gd name="connsiteY2" fmla="*/ 788721 h 6858000"/>
              <a:gd name="connsiteX3" fmla="*/ 11650573 w 12192000"/>
              <a:gd name="connsiteY3" fmla="*/ 790436 h 6858000"/>
              <a:gd name="connsiteX4" fmla="*/ 11644259 w 12192000"/>
              <a:gd name="connsiteY4" fmla="*/ 788684 h 6858000"/>
              <a:gd name="connsiteX5" fmla="*/ 11641850 w 12192000"/>
              <a:gd name="connsiteY5" fmla="*/ 782845 h 6858000"/>
              <a:gd name="connsiteX6" fmla="*/ 11643054 w 12192000"/>
              <a:gd name="connsiteY6" fmla="*/ 779012 h 6858000"/>
              <a:gd name="connsiteX7" fmla="*/ 11646996 w 12192000"/>
              <a:gd name="connsiteY7" fmla="*/ 775946 h 6858000"/>
              <a:gd name="connsiteX8" fmla="*/ 11654332 w 12192000"/>
              <a:gd name="connsiteY8" fmla="*/ 773793 h 6858000"/>
              <a:gd name="connsiteX9" fmla="*/ 11665610 w 12192000"/>
              <a:gd name="connsiteY9" fmla="*/ 772625 h 6858000"/>
              <a:gd name="connsiteX10" fmla="*/ 11244271 w 12192000"/>
              <a:gd name="connsiteY10" fmla="*/ 769924 h 6858000"/>
              <a:gd name="connsiteX11" fmla="*/ 11244308 w 12192000"/>
              <a:gd name="connsiteY11" fmla="*/ 769924 h 6858000"/>
              <a:gd name="connsiteX12" fmla="*/ 11244308 w 12192000"/>
              <a:gd name="connsiteY12" fmla="*/ 786276 h 6858000"/>
              <a:gd name="connsiteX13" fmla="*/ 11239855 w 12192000"/>
              <a:gd name="connsiteY13" fmla="*/ 790473 h 6858000"/>
              <a:gd name="connsiteX14" fmla="*/ 11235001 w 12192000"/>
              <a:gd name="connsiteY14" fmla="*/ 793831 h 6858000"/>
              <a:gd name="connsiteX15" fmla="*/ 11229344 w 12192000"/>
              <a:gd name="connsiteY15" fmla="*/ 796021 h 6858000"/>
              <a:gd name="connsiteX16" fmla="*/ 11222664 w 12192000"/>
              <a:gd name="connsiteY16" fmla="*/ 796787 h 6858000"/>
              <a:gd name="connsiteX17" fmla="*/ 11217956 w 12192000"/>
              <a:gd name="connsiteY17" fmla="*/ 796094 h 6858000"/>
              <a:gd name="connsiteX18" fmla="*/ 11213978 w 12192000"/>
              <a:gd name="connsiteY18" fmla="*/ 793940 h 6858000"/>
              <a:gd name="connsiteX19" fmla="*/ 11211204 w 12192000"/>
              <a:gd name="connsiteY19" fmla="*/ 790181 h 6858000"/>
              <a:gd name="connsiteX20" fmla="*/ 11210182 w 12192000"/>
              <a:gd name="connsiteY20" fmla="*/ 784743 h 6858000"/>
              <a:gd name="connsiteX21" fmla="*/ 11212189 w 12192000"/>
              <a:gd name="connsiteY21" fmla="*/ 778830 h 6858000"/>
              <a:gd name="connsiteX22" fmla="*/ 11218357 w 12192000"/>
              <a:gd name="connsiteY22" fmla="*/ 774341 h 6858000"/>
              <a:gd name="connsiteX23" fmla="*/ 11228942 w 12192000"/>
              <a:gd name="connsiteY23" fmla="*/ 771348 h 6858000"/>
              <a:gd name="connsiteX24" fmla="*/ 11244271 w 12192000"/>
              <a:gd name="connsiteY24" fmla="*/ 769924 h 6858000"/>
              <a:gd name="connsiteX25" fmla="*/ 11032215 w 12192000"/>
              <a:gd name="connsiteY25" fmla="*/ 769924 h 6858000"/>
              <a:gd name="connsiteX26" fmla="*/ 11032251 w 12192000"/>
              <a:gd name="connsiteY26" fmla="*/ 769924 h 6858000"/>
              <a:gd name="connsiteX27" fmla="*/ 11032251 w 12192000"/>
              <a:gd name="connsiteY27" fmla="*/ 786276 h 6858000"/>
              <a:gd name="connsiteX28" fmla="*/ 11027799 w 12192000"/>
              <a:gd name="connsiteY28" fmla="*/ 790473 h 6858000"/>
              <a:gd name="connsiteX29" fmla="*/ 11022944 w 12192000"/>
              <a:gd name="connsiteY29" fmla="*/ 793831 h 6858000"/>
              <a:gd name="connsiteX30" fmla="*/ 11017287 w 12192000"/>
              <a:gd name="connsiteY30" fmla="*/ 796021 h 6858000"/>
              <a:gd name="connsiteX31" fmla="*/ 11010608 w 12192000"/>
              <a:gd name="connsiteY31" fmla="*/ 796787 h 6858000"/>
              <a:gd name="connsiteX32" fmla="*/ 11005899 w 12192000"/>
              <a:gd name="connsiteY32" fmla="*/ 796094 h 6858000"/>
              <a:gd name="connsiteX33" fmla="*/ 11001921 w 12192000"/>
              <a:gd name="connsiteY33" fmla="*/ 793940 h 6858000"/>
              <a:gd name="connsiteX34" fmla="*/ 10999147 w 12192000"/>
              <a:gd name="connsiteY34" fmla="*/ 790181 h 6858000"/>
              <a:gd name="connsiteX35" fmla="*/ 10998125 w 12192000"/>
              <a:gd name="connsiteY35" fmla="*/ 784743 h 6858000"/>
              <a:gd name="connsiteX36" fmla="*/ 11000133 w 12192000"/>
              <a:gd name="connsiteY36" fmla="*/ 778830 h 6858000"/>
              <a:gd name="connsiteX37" fmla="*/ 11006301 w 12192000"/>
              <a:gd name="connsiteY37" fmla="*/ 774341 h 6858000"/>
              <a:gd name="connsiteX38" fmla="*/ 11016886 w 12192000"/>
              <a:gd name="connsiteY38" fmla="*/ 771348 h 6858000"/>
              <a:gd name="connsiteX39" fmla="*/ 11032215 w 12192000"/>
              <a:gd name="connsiteY39" fmla="*/ 769924 h 6858000"/>
              <a:gd name="connsiteX40" fmla="*/ 11363804 w 12192000"/>
              <a:gd name="connsiteY40" fmla="*/ 741310 h 6858000"/>
              <a:gd name="connsiteX41" fmla="*/ 11373731 w 12192000"/>
              <a:gd name="connsiteY41" fmla="*/ 743500 h 6858000"/>
              <a:gd name="connsiteX42" fmla="*/ 11381652 w 12192000"/>
              <a:gd name="connsiteY42" fmla="*/ 751091 h 6858000"/>
              <a:gd name="connsiteX43" fmla="*/ 11381688 w 12192000"/>
              <a:gd name="connsiteY43" fmla="*/ 751091 h 6858000"/>
              <a:gd name="connsiteX44" fmla="*/ 11381688 w 12192000"/>
              <a:gd name="connsiteY44" fmla="*/ 783904 h 6858000"/>
              <a:gd name="connsiteX45" fmla="*/ 11372710 w 12192000"/>
              <a:gd name="connsiteY45" fmla="*/ 792882 h 6858000"/>
              <a:gd name="connsiteX46" fmla="*/ 11361468 w 12192000"/>
              <a:gd name="connsiteY46" fmla="*/ 796094 h 6858000"/>
              <a:gd name="connsiteX47" fmla="*/ 11346686 w 12192000"/>
              <a:gd name="connsiteY47" fmla="*/ 789524 h 6858000"/>
              <a:gd name="connsiteX48" fmla="*/ 11341576 w 12192000"/>
              <a:gd name="connsiteY48" fmla="*/ 769049 h 6858000"/>
              <a:gd name="connsiteX49" fmla="*/ 11343000 w 12192000"/>
              <a:gd name="connsiteY49" fmla="*/ 757807 h 6858000"/>
              <a:gd name="connsiteX50" fmla="*/ 11347197 w 12192000"/>
              <a:gd name="connsiteY50" fmla="*/ 749011 h 6858000"/>
              <a:gd name="connsiteX51" fmla="*/ 11354132 w 12192000"/>
              <a:gd name="connsiteY51" fmla="*/ 743317 h 6858000"/>
              <a:gd name="connsiteX52" fmla="*/ 11363804 w 12192000"/>
              <a:gd name="connsiteY52" fmla="*/ 741310 h 6858000"/>
              <a:gd name="connsiteX53" fmla="*/ 11432604 w 12192000"/>
              <a:gd name="connsiteY53" fmla="*/ 741126 h 6858000"/>
              <a:gd name="connsiteX54" fmla="*/ 11440415 w 12192000"/>
              <a:gd name="connsiteY54" fmla="*/ 742586 h 6858000"/>
              <a:gd name="connsiteX55" fmla="*/ 11446546 w 12192000"/>
              <a:gd name="connsiteY55" fmla="*/ 746820 h 6858000"/>
              <a:gd name="connsiteX56" fmla="*/ 11450525 w 12192000"/>
              <a:gd name="connsiteY56" fmla="*/ 753572 h 6858000"/>
              <a:gd name="connsiteX57" fmla="*/ 11451948 w 12192000"/>
              <a:gd name="connsiteY57" fmla="*/ 762587 h 6858000"/>
              <a:gd name="connsiteX58" fmla="*/ 11410595 w 12192000"/>
              <a:gd name="connsiteY58" fmla="*/ 762587 h 6858000"/>
              <a:gd name="connsiteX59" fmla="*/ 11412858 w 12192000"/>
              <a:gd name="connsiteY59" fmla="*/ 753755 h 6858000"/>
              <a:gd name="connsiteX60" fmla="*/ 11417347 w 12192000"/>
              <a:gd name="connsiteY60" fmla="*/ 746966 h 6858000"/>
              <a:gd name="connsiteX61" fmla="*/ 11423954 w 12192000"/>
              <a:gd name="connsiteY61" fmla="*/ 742623 h 6858000"/>
              <a:gd name="connsiteX62" fmla="*/ 11432604 w 12192000"/>
              <a:gd name="connsiteY62" fmla="*/ 741126 h 6858000"/>
              <a:gd name="connsiteX63" fmla="*/ 11110139 w 12192000"/>
              <a:gd name="connsiteY63" fmla="*/ 741126 h 6858000"/>
              <a:gd name="connsiteX64" fmla="*/ 11117950 w 12192000"/>
              <a:gd name="connsiteY64" fmla="*/ 742586 h 6858000"/>
              <a:gd name="connsiteX65" fmla="*/ 11124081 w 12192000"/>
              <a:gd name="connsiteY65" fmla="*/ 746820 h 6858000"/>
              <a:gd name="connsiteX66" fmla="*/ 11128060 w 12192000"/>
              <a:gd name="connsiteY66" fmla="*/ 753572 h 6858000"/>
              <a:gd name="connsiteX67" fmla="*/ 11129483 w 12192000"/>
              <a:gd name="connsiteY67" fmla="*/ 762587 h 6858000"/>
              <a:gd name="connsiteX68" fmla="*/ 11088130 w 12192000"/>
              <a:gd name="connsiteY68" fmla="*/ 762587 h 6858000"/>
              <a:gd name="connsiteX69" fmla="*/ 11090393 w 12192000"/>
              <a:gd name="connsiteY69" fmla="*/ 753755 h 6858000"/>
              <a:gd name="connsiteX70" fmla="*/ 11094882 w 12192000"/>
              <a:gd name="connsiteY70" fmla="*/ 746966 h 6858000"/>
              <a:gd name="connsiteX71" fmla="*/ 11101489 w 12192000"/>
              <a:gd name="connsiteY71" fmla="*/ 742623 h 6858000"/>
              <a:gd name="connsiteX72" fmla="*/ 11110139 w 12192000"/>
              <a:gd name="connsiteY72" fmla="*/ 741126 h 6858000"/>
              <a:gd name="connsiteX73" fmla="*/ 11143791 w 12192000"/>
              <a:gd name="connsiteY73" fmla="*/ 737659 h 6858000"/>
              <a:gd name="connsiteX74" fmla="*/ 11165617 w 12192000"/>
              <a:gd name="connsiteY74" fmla="*/ 768135 h 6858000"/>
              <a:gd name="connsiteX75" fmla="*/ 11142915 w 12192000"/>
              <a:gd name="connsiteY75" fmla="*/ 800072 h 6858000"/>
              <a:gd name="connsiteX76" fmla="*/ 11148317 w 12192000"/>
              <a:gd name="connsiteY76" fmla="*/ 800072 h 6858000"/>
              <a:gd name="connsiteX77" fmla="*/ 11149558 w 12192000"/>
              <a:gd name="connsiteY77" fmla="*/ 799561 h 6858000"/>
              <a:gd name="connsiteX78" fmla="*/ 11150470 w 12192000"/>
              <a:gd name="connsiteY78" fmla="*/ 798502 h 6858000"/>
              <a:gd name="connsiteX79" fmla="*/ 11168537 w 12192000"/>
              <a:gd name="connsiteY79" fmla="*/ 773026 h 6858000"/>
              <a:gd name="connsiteX80" fmla="*/ 11169486 w 12192000"/>
              <a:gd name="connsiteY80" fmla="*/ 770836 h 6858000"/>
              <a:gd name="connsiteX81" fmla="*/ 11188429 w 12192000"/>
              <a:gd name="connsiteY81" fmla="*/ 798502 h 6858000"/>
              <a:gd name="connsiteX82" fmla="*/ 11189232 w 12192000"/>
              <a:gd name="connsiteY82" fmla="*/ 799524 h 6858000"/>
              <a:gd name="connsiteX83" fmla="*/ 11190619 w 12192000"/>
              <a:gd name="connsiteY83" fmla="*/ 800072 h 6858000"/>
              <a:gd name="connsiteX84" fmla="*/ 11196312 w 12192000"/>
              <a:gd name="connsiteY84" fmla="*/ 800072 h 6858000"/>
              <a:gd name="connsiteX85" fmla="*/ 11173647 w 12192000"/>
              <a:gd name="connsiteY85" fmla="*/ 767770 h 6858000"/>
              <a:gd name="connsiteX86" fmla="*/ 11195400 w 12192000"/>
              <a:gd name="connsiteY86" fmla="*/ 737659 h 6858000"/>
              <a:gd name="connsiteX87" fmla="*/ 11189925 w 12192000"/>
              <a:gd name="connsiteY87" fmla="*/ 737659 h 6858000"/>
              <a:gd name="connsiteX88" fmla="*/ 11188794 w 12192000"/>
              <a:gd name="connsiteY88" fmla="*/ 738024 h 6858000"/>
              <a:gd name="connsiteX89" fmla="*/ 11187991 w 12192000"/>
              <a:gd name="connsiteY89" fmla="*/ 738973 h 6858000"/>
              <a:gd name="connsiteX90" fmla="*/ 11170873 w 12192000"/>
              <a:gd name="connsiteY90" fmla="*/ 763135 h 6858000"/>
              <a:gd name="connsiteX91" fmla="*/ 11170289 w 12192000"/>
              <a:gd name="connsiteY91" fmla="*/ 764266 h 6858000"/>
              <a:gd name="connsiteX92" fmla="*/ 11169887 w 12192000"/>
              <a:gd name="connsiteY92" fmla="*/ 765325 h 6858000"/>
              <a:gd name="connsiteX93" fmla="*/ 11151565 w 12192000"/>
              <a:gd name="connsiteY93" fmla="*/ 738900 h 6858000"/>
              <a:gd name="connsiteX94" fmla="*/ 11150799 w 12192000"/>
              <a:gd name="connsiteY94" fmla="*/ 738024 h 6858000"/>
              <a:gd name="connsiteX95" fmla="*/ 11149485 w 12192000"/>
              <a:gd name="connsiteY95" fmla="*/ 737659 h 6858000"/>
              <a:gd name="connsiteX96" fmla="*/ 11432494 w 12192000"/>
              <a:gd name="connsiteY96" fmla="*/ 736710 h 6858000"/>
              <a:gd name="connsiteX97" fmla="*/ 11420596 w 12192000"/>
              <a:gd name="connsiteY97" fmla="*/ 739046 h 6858000"/>
              <a:gd name="connsiteX98" fmla="*/ 11411763 w 12192000"/>
              <a:gd name="connsiteY98" fmla="*/ 745470 h 6858000"/>
              <a:gd name="connsiteX99" fmla="*/ 11406252 w 12192000"/>
              <a:gd name="connsiteY99" fmla="*/ 755251 h 6858000"/>
              <a:gd name="connsiteX100" fmla="*/ 11404354 w 12192000"/>
              <a:gd name="connsiteY100" fmla="*/ 767624 h 6858000"/>
              <a:gd name="connsiteX101" fmla="*/ 11406398 w 12192000"/>
              <a:gd name="connsiteY101" fmla="*/ 781786 h 6858000"/>
              <a:gd name="connsiteX102" fmla="*/ 11412201 w 12192000"/>
              <a:gd name="connsiteY102" fmla="*/ 792224 h 6858000"/>
              <a:gd name="connsiteX103" fmla="*/ 11421216 w 12192000"/>
              <a:gd name="connsiteY103" fmla="*/ 798721 h 6858000"/>
              <a:gd name="connsiteX104" fmla="*/ 11432896 w 12192000"/>
              <a:gd name="connsiteY104" fmla="*/ 800947 h 6858000"/>
              <a:gd name="connsiteX105" fmla="*/ 11439904 w 12192000"/>
              <a:gd name="connsiteY105" fmla="*/ 800254 h 6858000"/>
              <a:gd name="connsiteX106" fmla="*/ 11446437 w 12192000"/>
              <a:gd name="connsiteY106" fmla="*/ 798393 h 6858000"/>
              <a:gd name="connsiteX107" fmla="*/ 11451948 w 12192000"/>
              <a:gd name="connsiteY107" fmla="*/ 795619 h 6858000"/>
              <a:gd name="connsiteX108" fmla="*/ 11455926 w 12192000"/>
              <a:gd name="connsiteY108" fmla="*/ 792115 h 6858000"/>
              <a:gd name="connsiteX109" fmla="*/ 11454284 w 12192000"/>
              <a:gd name="connsiteY109" fmla="*/ 790107 h 6858000"/>
              <a:gd name="connsiteX110" fmla="*/ 11453043 w 12192000"/>
              <a:gd name="connsiteY110" fmla="*/ 789487 h 6858000"/>
              <a:gd name="connsiteX111" fmla="*/ 11451036 w 12192000"/>
              <a:gd name="connsiteY111" fmla="*/ 790509 h 6858000"/>
              <a:gd name="connsiteX112" fmla="*/ 11447313 w 12192000"/>
              <a:gd name="connsiteY112" fmla="*/ 792845 h 6858000"/>
              <a:gd name="connsiteX113" fmla="*/ 11441510 w 12192000"/>
              <a:gd name="connsiteY113" fmla="*/ 795181 h 6858000"/>
              <a:gd name="connsiteX114" fmla="*/ 11433370 w 12192000"/>
              <a:gd name="connsiteY114" fmla="*/ 796203 h 6858000"/>
              <a:gd name="connsiteX115" fmla="*/ 11423844 w 12192000"/>
              <a:gd name="connsiteY115" fmla="*/ 794378 h 6858000"/>
              <a:gd name="connsiteX116" fmla="*/ 11416581 w 12192000"/>
              <a:gd name="connsiteY116" fmla="*/ 788939 h 6858000"/>
              <a:gd name="connsiteX117" fmla="*/ 11411946 w 12192000"/>
              <a:gd name="connsiteY117" fmla="*/ 779997 h 6858000"/>
              <a:gd name="connsiteX118" fmla="*/ 11410303 w 12192000"/>
              <a:gd name="connsiteY118" fmla="*/ 767624 h 6858000"/>
              <a:gd name="connsiteX119" fmla="*/ 11410303 w 12192000"/>
              <a:gd name="connsiteY119" fmla="*/ 766493 h 6858000"/>
              <a:gd name="connsiteX120" fmla="*/ 11455671 w 12192000"/>
              <a:gd name="connsiteY120" fmla="*/ 766493 h 6858000"/>
              <a:gd name="connsiteX121" fmla="*/ 11456912 w 12192000"/>
              <a:gd name="connsiteY121" fmla="*/ 765982 h 6858000"/>
              <a:gd name="connsiteX122" fmla="*/ 11457277 w 12192000"/>
              <a:gd name="connsiteY122" fmla="*/ 764084 h 6858000"/>
              <a:gd name="connsiteX123" fmla="*/ 11455379 w 12192000"/>
              <a:gd name="connsiteY123" fmla="*/ 752404 h 6858000"/>
              <a:gd name="connsiteX124" fmla="*/ 11450123 w 12192000"/>
              <a:gd name="connsiteY124" fmla="*/ 743827 h 6858000"/>
              <a:gd name="connsiteX125" fmla="*/ 11442276 w 12192000"/>
              <a:gd name="connsiteY125" fmla="*/ 738535 h 6858000"/>
              <a:gd name="connsiteX126" fmla="*/ 11432494 w 12192000"/>
              <a:gd name="connsiteY126" fmla="*/ 736710 h 6858000"/>
              <a:gd name="connsiteX127" fmla="*/ 11110029 w 12192000"/>
              <a:gd name="connsiteY127" fmla="*/ 736710 h 6858000"/>
              <a:gd name="connsiteX128" fmla="*/ 11098131 w 12192000"/>
              <a:gd name="connsiteY128" fmla="*/ 739046 h 6858000"/>
              <a:gd name="connsiteX129" fmla="*/ 11089298 w 12192000"/>
              <a:gd name="connsiteY129" fmla="*/ 745470 h 6858000"/>
              <a:gd name="connsiteX130" fmla="*/ 11083787 w 12192000"/>
              <a:gd name="connsiteY130" fmla="*/ 755251 h 6858000"/>
              <a:gd name="connsiteX131" fmla="*/ 11081889 w 12192000"/>
              <a:gd name="connsiteY131" fmla="*/ 767624 h 6858000"/>
              <a:gd name="connsiteX132" fmla="*/ 11083933 w 12192000"/>
              <a:gd name="connsiteY132" fmla="*/ 781786 h 6858000"/>
              <a:gd name="connsiteX133" fmla="*/ 11089736 w 12192000"/>
              <a:gd name="connsiteY133" fmla="*/ 792224 h 6858000"/>
              <a:gd name="connsiteX134" fmla="*/ 11098751 w 12192000"/>
              <a:gd name="connsiteY134" fmla="*/ 798721 h 6858000"/>
              <a:gd name="connsiteX135" fmla="*/ 11110431 w 12192000"/>
              <a:gd name="connsiteY135" fmla="*/ 800947 h 6858000"/>
              <a:gd name="connsiteX136" fmla="*/ 11117439 w 12192000"/>
              <a:gd name="connsiteY136" fmla="*/ 800254 h 6858000"/>
              <a:gd name="connsiteX137" fmla="*/ 11123972 w 12192000"/>
              <a:gd name="connsiteY137" fmla="*/ 798393 h 6858000"/>
              <a:gd name="connsiteX138" fmla="*/ 11129483 w 12192000"/>
              <a:gd name="connsiteY138" fmla="*/ 795619 h 6858000"/>
              <a:gd name="connsiteX139" fmla="*/ 11133461 w 12192000"/>
              <a:gd name="connsiteY139" fmla="*/ 792115 h 6858000"/>
              <a:gd name="connsiteX140" fmla="*/ 11131819 w 12192000"/>
              <a:gd name="connsiteY140" fmla="*/ 790107 h 6858000"/>
              <a:gd name="connsiteX141" fmla="*/ 11130578 w 12192000"/>
              <a:gd name="connsiteY141" fmla="*/ 789487 h 6858000"/>
              <a:gd name="connsiteX142" fmla="*/ 11128571 w 12192000"/>
              <a:gd name="connsiteY142" fmla="*/ 790509 h 6858000"/>
              <a:gd name="connsiteX143" fmla="*/ 11124848 w 12192000"/>
              <a:gd name="connsiteY143" fmla="*/ 792845 h 6858000"/>
              <a:gd name="connsiteX144" fmla="*/ 11119045 w 12192000"/>
              <a:gd name="connsiteY144" fmla="*/ 795181 h 6858000"/>
              <a:gd name="connsiteX145" fmla="*/ 11110905 w 12192000"/>
              <a:gd name="connsiteY145" fmla="*/ 796203 h 6858000"/>
              <a:gd name="connsiteX146" fmla="*/ 11101379 w 12192000"/>
              <a:gd name="connsiteY146" fmla="*/ 794378 h 6858000"/>
              <a:gd name="connsiteX147" fmla="*/ 11094116 w 12192000"/>
              <a:gd name="connsiteY147" fmla="*/ 788939 h 6858000"/>
              <a:gd name="connsiteX148" fmla="*/ 11089481 w 12192000"/>
              <a:gd name="connsiteY148" fmla="*/ 779997 h 6858000"/>
              <a:gd name="connsiteX149" fmla="*/ 11087838 w 12192000"/>
              <a:gd name="connsiteY149" fmla="*/ 767624 h 6858000"/>
              <a:gd name="connsiteX150" fmla="*/ 11087838 w 12192000"/>
              <a:gd name="connsiteY150" fmla="*/ 766493 h 6858000"/>
              <a:gd name="connsiteX151" fmla="*/ 11133206 w 12192000"/>
              <a:gd name="connsiteY151" fmla="*/ 766493 h 6858000"/>
              <a:gd name="connsiteX152" fmla="*/ 11134447 w 12192000"/>
              <a:gd name="connsiteY152" fmla="*/ 765982 h 6858000"/>
              <a:gd name="connsiteX153" fmla="*/ 11134812 w 12192000"/>
              <a:gd name="connsiteY153" fmla="*/ 764084 h 6858000"/>
              <a:gd name="connsiteX154" fmla="*/ 11132914 w 12192000"/>
              <a:gd name="connsiteY154" fmla="*/ 752404 h 6858000"/>
              <a:gd name="connsiteX155" fmla="*/ 11127658 w 12192000"/>
              <a:gd name="connsiteY155" fmla="*/ 743827 h 6858000"/>
              <a:gd name="connsiteX156" fmla="*/ 11119811 w 12192000"/>
              <a:gd name="connsiteY156" fmla="*/ 738535 h 6858000"/>
              <a:gd name="connsiteX157" fmla="*/ 11110029 w 12192000"/>
              <a:gd name="connsiteY157" fmla="*/ 736710 h 6858000"/>
              <a:gd name="connsiteX158" fmla="*/ 11298399 w 12192000"/>
              <a:gd name="connsiteY158" fmla="*/ 736674 h 6858000"/>
              <a:gd name="connsiteX159" fmla="*/ 11285770 w 12192000"/>
              <a:gd name="connsiteY159" fmla="*/ 739922 h 6858000"/>
              <a:gd name="connsiteX160" fmla="*/ 11275770 w 12192000"/>
              <a:gd name="connsiteY160" fmla="*/ 748573 h 6858000"/>
              <a:gd name="connsiteX161" fmla="*/ 11275222 w 12192000"/>
              <a:gd name="connsiteY161" fmla="*/ 739265 h 6858000"/>
              <a:gd name="connsiteX162" fmla="*/ 11273397 w 12192000"/>
              <a:gd name="connsiteY162" fmla="*/ 737696 h 6858000"/>
              <a:gd name="connsiteX163" fmla="*/ 11270076 w 12192000"/>
              <a:gd name="connsiteY163" fmla="*/ 737696 h 6858000"/>
              <a:gd name="connsiteX164" fmla="*/ 11270076 w 12192000"/>
              <a:gd name="connsiteY164" fmla="*/ 800109 h 6858000"/>
              <a:gd name="connsiteX165" fmla="*/ 11276062 w 12192000"/>
              <a:gd name="connsiteY165" fmla="*/ 800109 h 6858000"/>
              <a:gd name="connsiteX166" fmla="*/ 11276062 w 12192000"/>
              <a:gd name="connsiteY166" fmla="*/ 753171 h 6858000"/>
              <a:gd name="connsiteX167" fmla="*/ 11285515 w 12192000"/>
              <a:gd name="connsiteY167" fmla="*/ 744558 h 6858000"/>
              <a:gd name="connsiteX168" fmla="*/ 11296902 w 12192000"/>
              <a:gd name="connsiteY168" fmla="*/ 741455 h 6858000"/>
              <a:gd name="connsiteX169" fmla="*/ 11309129 w 12192000"/>
              <a:gd name="connsiteY169" fmla="*/ 746456 h 6858000"/>
              <a:gd name="connsiteX170" fmla="*/ 11313144 w 12192000"/>
              <a:gd name="connsiteY170" fmla="*/ 760216 h 6858000"/>
              <a:gd name="connsiteX171" fmla="*/ 11313144 w 12192000"/>
              <a:gd name="connsiteY171" fmla="*/ 800109 h 6858000"/>
              <a:gd name="connsiteX172" fmla="*/ 11319167 w 12192000"/>
              <a:gd name="connsiteY172" fmla="*/ 800109 h 6858000"/>
              <a:gd name="connsiteX173" fmla="*/ 11319167 w 12192000"/>
              <a:gd name="connsiteY173" fmla="*/ 760216 h 6858000"/>
              <a:gd name="connsiteX174" fmla="*/ 11317853 w 12192000"/>
              <a:gd name="connsiteY174" fmla="*/ 750434 h 6858000"/>
              <a:gd name="connsiteX175" fmla="*/ 11313947 w 12192000"/>
              <a:gd name="connsiteY175" fmla="*/ 743025 h 6858000"/>
              <a:gd name="connsiteX176" fmla="*/ 11307451 w 12192000"/>
              <a:gd name="connsiteY176" fmla="*/ 738316 h 6858000"/>
              <a:gd name="connsiteX177" fmla="*/ 11298399 w 12192000"/>
              <a:gd name="connsiteY177" fmla="*/ 736674 h 6858000"/>
              <a:gd name="connsiteX178" fmla="*/ 11498886 w 12192000"/>
              <a:gd name="connsiteY178" fmla="*/ 736637 h 6858000"/>
              <a:gd name="connsiteX179" fmla="*/ 11492279 w 12192000"/>
              <a:gd name="connsiteY179" fmla="*/ 737732 h 6858000"/>
              <a:gd name="connsiteX180" fmla="*/ 11486877 w 12192000"/>
              <a:gd name="connsiteY180" fmla="*/ 740907 h 6858000"/>
              <a:gd name="connsiteX181" fmla="*/ 11482607 w 12192000"/>
              <a:gd name="connsiteY181" fmla="*/ 745944 h 6858000"/>
              <a:gd name="connsiteX182" fmla="*/ 11479322 w 12192000"/>
              <a:gd name="connsiteY182" fmla="*/ 752733 h 6858000"/>
              <a:gd name="connsiteX183" fmla="*/ 11478848 w 12192000"/>
              <a:gd name="connsiteY183" fmla="*/ 739666 h 6858000"/>
              <a:gd name="connsiteX184" fmla="*/ 11478300 w 12192000"/>
              <a:gd name="connsiteY184" fmla="*/ 738170 h 6858000"/>
              <a:gd name="connsiteX185" fmla="*/ 11476804 w 12192000"/>
              <a:gd name="connsiteY185" fmla="*/ 737732 h 6858000"/>
              <a:gd name="connsiteX186" fmla="*/ 11473592 w 12192000"/>
              <a:gd name="connsiteY186" fmla="*/ 737732 h 6858000"/>
              <a:gd name="connsiteX187" fmla="*/ 11473592 w 12192000"/>
              <a:gd name="connsiteY187" fmla="*/ 800145 h 6858000"/>
              <a:gd name="connsiteX188" fmla="*/ 11479614 w 12192000"/>
              <a:gd name="connsiteY188" fmla="*/ 800145 h 6858000"/>
              <a:gd name="connsiteX189" fmla="*/ 11479614 w 12192000"/>
              <a:gd name="connsiteY189" fmla="*/ 759741 h 6858000"/>
              <a:gd name="connsiteX190" fmla="*/ 11482644 w 12192000"/>
              <a:gd name="connsiteY190" fmla="*/ 752295 h 6858000"/>
              <a:gd name="connsiteX191" fmla="*/ 11486549 w 12192000"/>
              <a:gd name="connsiteY191" fmla="*/ 746857 h 6858000"/>
              <a:gd name="connsiteX192" fmla="*/ 11491549 w 12192000"/>
              <a:gd name="connsiteY192" fmla="*/ 743572 h 6858000"/>
              <a:gd name="connsiteX193" fmla="*/ 11497973 w 12192000"/>
              <a:gd name="connsiteY193" fmla="*/ 742477 h 6858000"/>
              <a:gd name="connsiteX194" fmla="*/ 11502024 w 12192000"/>
              <a:gd name="connsiteY194" fmla="*/ 742915 h 6858000"/>
              <a:gd name="connsiteX195" fmla="*/ 11504324 w 12192000"/>
              <a:gd name="connsiteY195" fmla="*/ 743353 h 6858000"/>
              <a:gd name="connsiteX196" fmla="*/ 11505528 w 12192000"/>
              <a:gd name="connsiteY196" fmla="*/ 742331 h 6858000"/>
              <a:gd name="connsiteX197" fmla="*/ 11506039 w 12192000"/>
              <a:gd name="connsiteY197" fmla="*/ 738206 h 6858000"/>
              <a:gd name="connsiteX198" fmla="*/ 11502718 w 12192000"/>
              <a:gd name="connsiteY198" fmla="*/ 736965 h 6858000"/>
              <a:gd name="connsiteX199" fmla="*/ 11498886 w 12192000"/>
              <a:gd name="connsiteY199" fmla="*/ 736637 h 6858000"/>
              <a:gd name="connsiteX200" fmla="*/ 11230110 w 12192000"/>
              <a:gd name="connsiteY200" fmla="*/ 736601 h 6858000"/>
              <a:gd name="connsiteX201" fmla="*/ 11217883 w 12192000"/>
              <a:gd name="connsiteY201" fmla="*/ 739119 h 6858000"/>
              <a:gd name="connsiteX202" fmla="*/ 11207590 w 12192000"/>
              <a:gd name="connsiteY202" fmla="*/ 746529 h 6858000"/>
              <a:gd name="connsiteX203" fmla="*/ 11208649 w 12192000"/>
              <a:gd name="connsiteY203" fmla="*/ 748354 h 6858000"/>
              <a:gd name="connsiteX204" fmla="*/ 11209415 w 12192000"/>
              <a:gd name="connsiteY204" fmla="*/ 749157 h 6858000"/>
              <a:gd name="connsiteX205" fmla="*/ 11210547 w 12192000"/>
              <a:gd name="connsiteY205" fmla="*/ 749485 h 6858000"/>
              <a:gd name="connsiteX206" fmla="*/ 11212883 w 12192000"/>
              <a:gd name="connsiteY206" fmla="*/ 748244 h 6858000"/>
              <a:gd name="connsiteX207" fmla="*/ 11216460 w 12192000"/>
              <a:gd name="connsiteY207" fmla="*/ 745470 h 6858000"/>
              <a:gd name="connsiteX208" fmla="*/ 11221825 w 12192000"/>
              <a:gd name="connsiteY208" fmla="*/ 742696 h 6858000"/>
              <a:gd name="connsiteX209" fmla="*/ 11229526 w 12192000"/>
              <a:gd name="connsiteY209" fmla="*/ 741455 h 6858000"/>
              <a:gd name="connsiteX210" fmla="*/ 11240585 w 12192000"/>
              <a:gd name="connsiteY210" fmla="*/ 746127 h 6858000"/>
              <a:gd name="connsiteX211" fmla="*/ 11244308 w 12192000"/>
              <a:gd name="connsiteY211" fmla="*/ 759449 h 6858000"/>
              <a:gd name="connsiteX212" fmla="*/ 11244308 w 12192000"/>
              <a:gd name="connsiteY212" fmla="*/ 765982 h 6858000"/>
              <a:gd name="connsiteX213" fmla="*/ 11226132 w 12192000"/>
              <a:gd name="connsiteY213" fmla="*/ 767734 h 6858000"/>
              <a:gd name="connsiteX214" fmla="*/ 11213759 w 12192000"/>
              <a:gd name="connsiteY214" fmla="*/ 771749 h 6858000"/>
              <a:gd name="connsiteX215" fmla="*/ 11206678 w 12192000"/>
              <a:gd name="connsiteY215" fmla="*/ 777662 h 6858000"/>
              <a:gd name="connsiteX216" fmla="*/ 11204415 w 12192000"/>
              <a:gd name="connsiteY216" fmla="*/ 784998 h 6858000"/>
              <a:gd name="connsiteX217" fmla="*/ 11205838 w 12192000"/>
              <a:gd name="connsiteY217" fmla="*/ 792298 h 6858000"/>
              <a:gd name="connsiteX218" fmla="*/ 11209598 w 12192000"/>
              <a:gd name="connsiteY218" fmla="*/ 797298 h 6858000"/>
              <a:gd name="connsiteX219" fmla="*/ 11214963 w 12192000"/>
              <a:gd name="connsiteY219" fmla="*/ 800181 h 6858000"/>
              <a:gd name="connsiteX220" fmla="*/ 11221168 w 12192000"/>
              <a:gd name="connsiteY220" fmla="*/ 801130 h 6858000"/>
              <a:gd name="connsiteX221" fmla="*/ 11228176 w 12192000"/>
              <a:gd name="connsiteY221" fmla="*/ 800364 h 6858000"/>
              <a:gd name="connsiteX222" fmla="*/ 11234125 w 12192000"/>
              <a:gd name="connsiteY222" fmla="*/ 798247 h 6858000"/>
              <a:gd name="connsiteX223" fmla="*/ 11239417 w 12192000"/>
              <a:gd name="connsiteY223" fmla="*/ 794853 h 6858000"/>
              <a:gd name="connsiteX224" fmla="*/ 11244527 w 12192000"/>
              <a:gd name="connsiteY224" fmla="*/ 790327 h 6858000"/>
              <a:gd name="connsiteX225" fmla="*/ 11245403 w 12192000"/>
              <a:gd name="connsiteY225" fmla="*/ 798357 h 6858000"/>
              <a:gd name="connsiteX226" fmla="*/ 11247739 w 12192000"/>
              <a:gd name="connsiteY226" fmla="*/ 800109 h 6858000"/>
              <a:gd name="connsiteX227" fmla="*/ 11250111 w 12192000"/>
              <a:gd name="connsiteY227" fmla="*/ 800109 h 6858000"/>
              <a:gd name="connsiteX228" fmla="*/ 11250111 w 12192000"/>
              <a:gd name="connsiteY228" fmla="*/ 759449 h 6858000"/>
              <a:gd name="connsiteX229" fmla="*/ 11248870 w 12192000"/>
              <a:gd name="connsiteY229" fmla="*/ 749996 h 6858000"/>
              <a:gd name="connsiteX230" fmla="*/ 11245147 w 12192000"/>
              <a:gd name="connsiteY230" fmla="*/ 742769 h 6858000"/>
              <a:gd name="connsiteX231" fmla="*/ 11238906 w 12192000"/>
              <a:gd name="connsiteY231" fmla="*/ 738207 h 6858000"/>
              <a:gd name="connsiteX232" fmla="*/ 11230110 w 12192000"/>
              <a:gd name="connsiteY232" fmla="*/ 736601 h 6858000"/>
              <a:gd name="connsiteX233" fmla="*/ 11018017 w 12192000"/>
              <a:gd name="connsiteY233" fmla="*/ 736601 h 6858000"/>
              <a:gd name="connsiteX234" fmla="*/ 11005790 w 12192000"/>
              <a:gd name="connsiteY234" fmla="*/ 739119 h 6858000"/>
              <a:gd name="connsiteX235" fmla="*/ 10995497 w 12192000"/>
              <a:gd name="connsiteY235" fmla="*/ 746529 h 6858000"/>
              <a:gd name="connsiteX236" fmla="*/ 10996556 w 12192000"/>
              <a:gd name="connsiteY236" fmla="*/ 748354 h 6858000"/>
              <a:gd name="connsiteX237" fmla="*/ 10997322 w 12192000"/>
              <a:gd name="connsiteY237" fmla="*/ 749157 h 6858000"/>
              <a:gd name="connsiteX238" fmla="*/ 10998454 w 12192000"/>
              <a:gd name="connsiteY238" fmla="*/ 749485 h 6858000"/>
              <a:gd name="connsiteX239" fmla="*/ 11000790 w 12192000"/>
              <a:gd name="connsiteY239" fmla="*/ 748244 h 6858000"/>
              <a:gd name="connsiteX240" fmla="*/ 11004367 w 12192000"/>
              <a:gd name="connsiteY240" fmla="*/ 745470 h 6858000"/>
              <a:gd name="connsiteX241" fmla="*/ 11009732 w 12192000"/>
              <a:gd name="connsiteY241" fmla="*/ 742696 h 6858000"/>
              <a:gd name="connsiteX242" fmla="*/ 11017433 w 12192000"/>
              <a:gd name="connsiteY242" fmla="*/ 741455 h 6858000"/>
              <a:gd name="connsiteX243" fmla="*/ 11028492 w 12192000"/>
              <a:gd name="connsiteY243" fmla="*/ 746127 h 6858000"/>
              <a:gd name="connsiteX244" fmla="*/ 11032215 w 12192000"/>
              <a:gd name="connsiteY244" fmla="*/ 759449 h 6858000"/>
              <a:gd name="connsiteX245" fmla="*/ 11032215 w 12192000"/>
              <a:gd name="connsiteY245" fmla="*/ 765982 h 6858000"/>
              <a:gd name="connsiteX246" fmla="*/ 11014039 w 12192000"/>
              <a:gd name="connsiteY246" fmla="*/ 767734 h 6858000"/>
              <a:gd name="connsiteX247" fmla="*/ 11001666 w 12192000"/>
              <a:gd name="connsiteY247" fmla="*/ 771749 h 6858000"/>
              <a:gd name="connsiteX248" fmla="*/ 10994585 w 12192000"/>
              <a:gd name="connsiteY248" fmla="*/ 777662 h 6858000"/>
              <a:gd name="connsiteX249" fmla="*/ 10992322 w 12192000"/>
              <a:gd name="connsiteY249" fmla="*/ 784998 h 6858000"/>
              <a:gd name="connsiteX250" fmla="*/ 10993745 w 12192000"/>
              <a:gd name="connsiteY250" fmla="*/ 792298 h 6858000"/>
              <a:gd name="connsiteX251" fmla="*/ 10997505 w 12192000"/>
              <a:gd name="connsiteY251" fmla="*/ 797298 h 6858000"/>
              <a:gd name="connsiteX252" fmla="*/ 11002870 w 12192000"/>
              <a:gd name="connsiteY252" fmla="*/ 800181 h 6858000"/>
              <a:gd name="connsiteX253" fmla="*/ 11009075 w 12192000"/>
              <a:gd name="connsiteY253" fmla="*/ 801130 h 6858000"/>
              <a:gd name="connsiteX254" fmla="*/ 11016083 w 12192000"/>
              <a:gd name="connsiteY254" fmla="*/ 800364 h 6858000"/>
              <a:gd name="connsiteX255" fmla="*/ 11022032 w 12192000"/>
              <a:gd name="connsiteY255" fmla="*/ 798247 h 6858000"/>
              <a:gd name="connsiteX256" fmla="*/ 11027324 w 12192000"/>
              <a:gd name="connsiteY256" fmla="*/ 794853 h 6858000"/>
              <a:gd name="connsiteX257" fmla="*/ 11032434 w 12192000"/>
              <a:gd name="connsiteY257" fmla="*/ 790327 h 6858000"/>
              <a:gd name="connsiteX258" fmla="*/ 11033310 w 12192000"/>
              <a:gd name="connsiteY258" fmla="*/ 798357 h 6858000"/>
              <a:gd name="connsiteX259" fmla="*/ 11035646 w 12192000"/>
              <a:gd name="connsiteY259" fmla="*/ 800109 h 6858000"/>
              <a:gd name="connsiteX260" fmla="*/ 11038018 w 12192000"/>
              <a:gd name="connsiteY260" fmla="*/ 800109 h 6858000"/>
              <a:gd name="connsiteX261" fmla="*/ 11038018 w 12192000"/>
              <a:gd name="connsiteY261" fmla="*/ 759449 h 6858000"/>
              <a:gd name="connsiteX262" fmla="*/ 11036777 w 12192000"/>
              <a:gd name="connsiteY262" fmla="*/ 749996 h 6858000"/>
              <a:gd name="connsiteX263" fmla="*/ 11033054 w 12192000"/>
              <a:gd name="connsiteY263" fmla="*/ 742769 h 6858000"/>
              <a:gd name="connsiteX264" fmla="*/ 11026813 w 12192000"/>
              <a:gd name="connsiteY264" fmla="*/ 738207 h 6858000"/>
              <a:gd name="connsiteX265" fmla="*/ 11018017 w 12192000"/>
              <a:gd name="connsiteY265" fmla="*/ 736601 h 6858000"/>
              <a:gd name="connsiteX266" fmla="*/ 11832117 w 12192000"/>
              <a:gd name="connsiteY266" fmla="*/ 734703 h 6858000"/>
              <a:gd name="connsiteX267" fmla="*/ 11826824 w 12192000"/>
              <a:gd name="connsiteY267" fmla="*/ 735360 h 6858000"/>
              <a:gd name="connsiteX268" fmla="*/ 11822299 w 12192000"/>
              <a:gd name="connsiteY268" fmla="*/ 737148 h 6858000"/>
              <a:gd name="connsiteX269" fmla="*/ 11818357 w 12192000"/>
              <a:gd name="connsiteY269" fmla="*/ 739849 h 6858000"/>
              <a:gd name="connsiteX270" fmla="*/ 11814816 w 12192000"/>
              <a:gd name="connsiteY270" fmla="*/ 743317 h 6858000"/>
              <a:gd name="connsiteX271" fmla="*/ 11813794 w 12192000"/>
              <a:gd name="connsiteY271" fmla="*/ 738535 h 6858000"/>
              <a:gd name="connsiteX272" fmla="*/ 11809853 w 12192000"/>
              <a:gd name="connsiteY272" fmla="*/ 735725 h 6858000"/>
              <a:gd name="connsiteX273" fmla="*/ 11800363 w 12192000"/>
              <a:gd name="connsiteY273" fmla="*/ 735725 h 6858000"/>
              <a:gd name="connsiteX274" fmla="*/ 11800363 w 12192000"/>
              <a:gd name="connsiteY274" fmla="*/ 800072 h 6858000"/>
              <a:gd name="connsiteX275" fmla="*/ 11800363 w 12192000"/>
              <a:gd name="connsiteY275" fmla="*/ 800181 h 6858000"/>
              <a:gd name="connsiteX276" fmla="*/ 11815911 w 12192000"/>
              <a:gd name="connsiteY276" fmla="*/ 800181 h 6858000"/>
              <a:gd name="connsiteX277" fmla="*/ 11815911 w 12192000"/>
              <a:gd name="connsiteY277" fmla="*/ 753062 h 6858000"/>
              <a:gd name="connsiteX278" fmla="*/ 11821350 w 12192000"/>
              <a:gd name="connsiteY278" fmla="*/ 748499 h 6858000"/>
              <a:gd name="connsiteX279" fmla="*/ 11827664 w 12192000"/>
              <a:gd name="connsiteY279" fmla="*/ 746821 h 6858000"/>
              <a:gd name="connsiteX280" fmla="*/ 11835292 w 12192000"/>
              <a:gd name="connsiteY280" fmla="*/ 749777 h 6858000"/>
              <a:gd name="connsiteX281" fmla="*/ 11837884 w 12192000"/>
              <a:gd name="connsiteY281" fmla="*/ 759194 h 6858000"/>
              <a:gd name="connsiteX282" fmla="*/ 11837884 w 12192000"/>
              <a:gd name="connsiteY282" fmla="*/ 800145 h 6858000"/>
              <a:gd name="connsiteX283" fmla="*/ 11853432 w 12192000"/>
              <a:gd name="connsiteY283" fmla="*/ 800145 h 6858000"/>
              <a:gd name="connsiteX284" fmla="*/ 11853432 w 12192000"/>
              <a:gd name="connsiteY284" fmla="*/ 759194 h 6858000"/>
              <a:gd name="connsiteX285" fmla="*/ 11854308 w 12192000"/>
              <a:gd name="connsiteY285" fmla="*/ 753865 h 6858000"/>
              <a:gd name="connsiteX286" fmla="*/ 11856717 w 12192000"/>
              <a:gd name="connsiteY286" fmla="*/ 749996 h 6858000"/>
              <a:gd name="connsiteX287" fmla="*/ 11860294 w 12192000"/>
              <a:gd name="connsiteY287" fmla="*/ 747660 h 6858000"/>
              <a:gd name="connsiteX288" fmla="*/ 11864710 w 12192000"/>
              <a:gd name="connsiteY288" fmla="*/ 746857 h 6858000"/>
              <a:gd name="connsiteX289" fmla="*/ 11872630 w 12192000"/>
              <a:gd name="connsiteY289" fmla="*/ 749959 h 6858000"/>
              <a:gd name="connsiteX290" fmla="*/ 11875331 w 12192000"/>
              <a:gd name="connsiteY290" fmla="*/ 759194 h 6858000"/>
              <a:gd name="connsiteX291" fmla="*/ 11875331 w 12192000"/>
              <a:gd name="connsiteY291" fmla="*/ 800145 h 6858000"/>
              <a:gd name="connsiteX292" fmla="*/ 11890806 w 12192000"/>
              <a:gd name="connsiteY292" fmla="*/ 800145 h 6858000"/>
              <a:gd name="connsiteX293" fmla="*/ 11890806 w 12192000"/>
              <a:gd name="connsiteY293" fmla="*/ 759194 h 6858000"/>
              <a:gd name="connsiteX294" fmla="*/ 11889346 w 12192000"/>
              <a:gd name="connsiteY294" fmla="*/ 748828 h 6858000"/>
              <a:gd name="connsiteX295" fmla="*/ 11885040 w 12192000"/>
              <a:gd name="connsiteY295" fmla="*/ 741163 h 6858000"/>
              <a:gd name="connsiteX296" fmla="*/ 11878068 w 12192000"/>
              <a:gd name="connsiteY296" fmla="*/ 736382 h 6858000"/>
              <a:gd name="connsiteX297" fmla="*/ 11868579 w 12192000"/>
              <a:gd name="connsiteY297" fmla="*/ 734740 h 6858000"/>
              <a:gd name="connsiteX298" fmla="*/ 11862447 w 12192000"/>
              <a:gd name="connsiteY298" fmla="*/ 735433 h 6858000"/>
              <a:gd name="connsiteX299" fmla="*/ 11856717 w 12192000"/>
              <a:gd name="connsiteY299" fmla="*/ 737550 h 6858000"/>
              <a:gd name="connsiteX300" fmla="*/ 11851753 w 12192000"/>
              <a:gd name="connsiteY300" fmla="*/ 741273 h 6858000"/>
              <a:gd name="connsiteX301" fmla="*/ 11847994 w 12192000"/>
              <a:gd name="connsiteY301" fmla="*/ 746748 h 6858000"/>
              <a:gd name="connsiteX302" fmla="*/ 11842117 w 12192000"/>
              <a:gd name="connsiteY302" fmla="*/ 737988 h 6858000"/>
              <a:gd name="connsiteX303" fmla="*/ 11832117 w 12192000"/>
              <a:gd name="connsiteY303" fmla="*/ 734703 h 6858000"/>
              <a:gd name="connsiteX304" fmla="*/ 11727038 w 12192000"/>
              <a:gd name="connsiteY304" fmla="*/ 734703 h 6858000"/>
              <a:gd name="connsiteX305" fmla="*/ 11721745 w 12192000"/>
              <a:gd name="connsiteY305" fmla="*/ 735360 h 6858000"/>
              <a:gd name="connsiteX306" fmla="*/ 11717220 w 12192000"/>
              <a:gd name="connsiteY306" fmla="*/ 737148 h 6858000"/>
              <a:gd name="connsiteX307" fmla="*/ 11713278 w 12192000"/>
              <a:gd name="connsiteY307" fmla="*/ 739849 h 6858000"/>
              <a:gd name="connsiteX308" fmla="*/ 11709737 w 12192000"/>
              <a:gd name="connsiteY308" fmla="*/ 743317 h 6858000"/>
              <a:gd name="connsiteX309" fmla="*/ 11708715 w 12192000"/>
              <a:gd name="connsiteY309" fmla="*/ 738535 h 6858000"/>
              <a:gd name="connsiteX310" fmla="*/ 11704774 w 12192000"/>
              <a:gd name="connsiteY310" fmla="*/ 735725 h 6858000"/>
              <a:gd name="connsiteX311" fmla="*/ 11695284 w 12192000"/>
              <a:gd name="connsiteY311" fmla="*/ 735725 h 6858000"/>
              <a:gd name="connsiteX312" fmla="*/ 11695284 w 12192000"/>
              <a:gd name="connsiteY312" fmla="*/ 800072 h 6858000"/>
              <a:gd name="connsiteX313" fmla="*/ 11695284 w 12192000"/>
              <a:gd name="connsiteY313" fmla="*/ 800181 h 6858000"/>
              <a:gd name="connsiteX314" fmla="*/ 11710832 w 12192000"/>
              <a:gd name="connsiteY314" fmla="*/ 800181 h 6858000"/>
              <a:gd name="connsiteX315" fmla="*/ 11710832 w 12192000"/>
              <a:gd name="connsiteY315" fmla="*/ 753062 h 6858000"/>
              <a:gd name="connsiteX316" fmla="*/ 11716271 w 12192000"/>
              <a:gd name="connsiteY316" fmla="*/ 748499 h 6858000"/>
              <a:gd name="connsiteX317" fmla="*/ 11722585 w 12192000"/>
              <a:gd name="connsiteY317" fmla="*/ 746821 h 6858000"/>
              <a:gd name="connsiteX318" fmla="*/ 11730213 w 12192000"/>
              <a:gd name="connsiteY318" fmla="*/ 749777 h 6858000"/>
              <a:gd name="connsiteX319" fmla="*/ 11732805 w 12192000"/>
              <a:gd name="connsiteY319" fmla="*/ 759194 h 6858000"/>
              <a:gd name="connsiteX320" fmla="*/ 11732805 w 12192000"/>
              <a:gd name="connsiteY320" fmla="*/ 800145 h 6858000"/>
              <a:gd name="connsiteX321" fmla="*/ 11748353 w 12192000"/>
              <a:gd name="connsiteY321" fmla="*/ 800145 h 6858000"/>
              <a:gd name="connsiteX322" fmla="*/ 11748353 w 12192000"/>
              <a:gd name="connsiteY322" fmla="*/ 759194 h 6858000"/>
              <a:gd name="connsiteX323" fmla="*/ 11749229 w 12192000"/>
              <a:gd name="connsiteY323" fmla="*/ 753865 h 6858000"/>
              <a:gd name="connsiteX324" fmla="*/ 11751638 w 12192000"/>
              <a:gd name="connsiteY324" fmla="*/ 749996 h 6858000"/>
              <a:gd name="connsiteX325" fmla="*/ 11755215 w 12192000"/>
              <a:gd name="connsiteY325" fmla="*/ 747660 h 6858000"/>
              <a:gd name="connsiteX326" fmla="*/ 11759631 w 12192000"/>
              <a:gd name="connsiteY326" fmla="*/ 746857 h 6858000"/>
              <a:gd name="connsiteX327" fmla="*/ 11767551 w 12192000"/>
              <a:gd name="connsiteY327" fmla="*/ 749959 h 6858000"/>
              <a:gd name="connsiteX328" fmla="*/ 11770252 w 12192000"/>
              <a:gd name="connsiteY328" fmla="*/ 759194 h 6858000"/>
              <a:gd name="connsiteX329" fmla="*/ 11770252 w 12192000"/>
              <a:gd name="connsiteY329" fmla="*/ 800145 h 6858000"/>
              <a:gd name="connsiteX330" fmla="*/ 11785727 w 12192000"/>
              <a:gd name="connsiteY330" fmla="*/ 800145 h 6858000"/>
              <a:gd name="connsiteX331" fmla="*/ 11785727 w 12192000"/>
              <a:gd name="connsiteY331" fmla="*/ 759194 h 6858000"/>
              <a:gd name="connsiteX332" fmla="*/ 11784267 w 12192000"/>
              <a:gd name="connsiteY332" fmla="*/ 748828 h 6858000"/>
              <a:gd name="connsiteX333" fmla="*/ 11779961 w 12192000"/>
              <a:gd name="connsiteY333" fmla="*/ 741163 h 6858000"/>
              <a:gd name="connsiteX334" fmla="*/ 11772989 w 12192000"/>
              <a:gd name="connsiteY334" fmla="*/ 736382 h 6858000"/>
              <a:gd name="connsiteX335" fmla="*/ 11763500 w 12192000"/>
              <a:gd name="connsiteY335" fmla="*/ 734740 h 6858000"/>
              <a:gd name="connsiteX336" fmla="*/ 11757368 w 12192000"/>
              <a:gd name="connsiteY336" fmla="*/ 735433 h 6858000"/>
              <a:gd name="connsiteX337" fmla="*/ 11751638 w 12192000"/>
              <a:gd name="connsiteY337" fmla="*/ 737550 h 6858000"/>
              <a:gd name="connsiteX338" fmla="*/ 11746674 w 12192000"/>
              <a:gd name="connsiteY338" fmla="*/ 741273 h 6858000"/>
              <a:gd name="connsiteX339" fmla="*/ 11742915 w 12192000"/>
              <a:gd name="connsiteY339" fmla="*/ 746748 h 6858000"/>
              <a:gd name="connsiteX340" fmla="*/ 11737038 w 12192000"/>
              <a:gd name="connsiteY340" fmla="*/ 737988 h 6858000"/>
              <a:gd name="connsiteX341" fmla="*/ 11727038 w 12192000"/>
              <a:gd name="connsiteY341" fmla="*/ 734703 h 6858000"/>
              <a:gd name="connsiteX342" fmla="*/ 11656814 w 12192000"/>
              <a:gd name="connsiteY342" fmla="*/ 734557 h 6858000"/>
              <a:gd name="connsiteX343" fmla="*/ 11630097 w 12192000"/>
              <a:gd name="connsiteY343" fmla="*/ 744704 h 6858000"/>
              <a:gd name="connsiteX344" fmla="*/ 11632725 w 12192000"/>
              <a:gd name="connsiteY344" fmla="*/ 749740 h 6858000"/>
              <a:gd name="connsiteX345" fmla="*/ 11634550 w 12192000"/>
              <a:gd name="connsiteY345" fmla="*/ 751711 h 6858000"/>
              <a:gd name="connsiteX346" fmla="*/ 11637324 w 12192000"/>
              <a:gd name="connsiteY346" fmla="*/ 752551 h 6858000"/>
              <a:gd name="connsiteX347" fmla="*/ 11640755 w 12192000"/>
              <a:gd name="connsiteY347" fmla="*/ 751675 h 6858000"/>
              <a:gd name="connsiteX348" fmla="*/ 11644186 w 12192000"/>
              <a:gd name="connsiteY348" fmla="*/ 749704 h 6858000"/>
              <a:gd name="connsiteX349" fmla="*/ 11648529 w 12192000"/>
              <a:gd name="connsiteY349" fmla="*/ 747733 h 6858000"/>
              <a:gd name="connsiteX350" fmla="*/ 11654770 w 12192000"/>
              <a:gd name="connsiteY350" fmla="*/ 746857 h 6858000"/>
              <a:gd name="connsiteX351" fmla="*/ 11662727 w 12192000"/>
              <a:gd name="connsiteY351" fmla="*/ 749959 h 6858000"/>
              <a:gd name="connsiteX352" fmla="*/ 11665501 w 12192000"/>
              <a:gd name="connsiteY352" fmla="*/ 759522 h 6858000"/>
              <a:gd name="connsiteX353" fmla="*/ 11665501 w 12192000"/>
              <a:gd name="connsiteY353" fmla="*/ 763281 h 6858000"/>
              <a:gd name="connsiteX354" fmla="*/ 11652471 w 12192000"/>
              <a:gd name="connsiteY354" fmla="*/ 764376 h 6858000"/>
              <a:gd name="connsiteX355" fmla="*/ 11642470 w 12192000"/>
              <a:gd name="connsiteY355" fmla="*/ 766712 h 6858000"/>
              <a:gd name="connsiteX356" fmla="*/ 11635244 w 12192000"/>
              <a:gd name="connsiteY356" fmla="*/ 770107 h 6858000"/>
              <a:gd name="connsiteX357" fmla="*/ 11630462 w 12192000"/>
              <a:gd name="connsiteY357" fmla="*/ 774231 h 6858000"/>
              <a:gd name="connsiteX358" fmla="*/ 11627798 w 12192000"/>
              <a:gd name="connsiteY358" fmla="*/ 778830 h 6858000"/>
              <a:gd name="connsiteX359" fmla="*/ 11626995 w 12192000"/>
              <a:gd name="connsiteY359" fmla="*/ 783684 h 6858000"/>
              <a:gd name="connsiteX360" fmla="*/ 11628382 w 12192000"/>
              <a:gd name="connsiteY360" fmla="*/ 791276 h 6858000"/>
              <a:gd name="connsiteX361" fmla="*/ 11632287 w 12192000"/>
              <a:gd name="connsiteY361" fmla="*/ 796751 h 6858000"/>
              <a:gd name="connsiteX362" fmla="*/ 11638237 w 12192000"/>
              <a:gd name="connsiteY362" fmla="*/ 800035 h 6858000"/>
              <a:gd name="connsiteX363" fmla="*/ 11645755 w 12192000"/>
              <a:gd name="connsiteY363" fmla="*/ 801130 h 6858000"/>
              <a:gd name="connsiteX364" fmla="*/ 11652070 w 12192000"/>
              <a:gd name="connsiteY364" fmla="*/ 800546 h 6858000"/>
              <a:gd name="connsiteX365" fmla="*/ 11657435 w 12192000"/>
              <a:gd name="connsiteY365" fmla="*/ 798831 h 6858000"/>
              <a:gd name="connsiteX366" fmla="*/ 11662253 w 12192000"/>
              <a:gd name="connsiteY366" fmla="*/ 796057 h 6858000"/>
              <a:gd name="connsiteX367" fmla="*/ 11667034 w 12192000"/>
              <a:gd name="connsiteY367" fmla="*/ 792188 h 6858000"/>
              <a:gd name="connsiteX368" fmla="*/ 11668421 w 12192000"/>
              <a:gd name="connsiteY368" fmla="*/ 796824 h 6858000"/>
              <a:gd name="connsiteX369" fmla="*/ 11670319 w 12192000"/>
              <a:gd name="connsiteY369" fmla="*/ 799488 h 6858000"/>
              <a:gd name="connsiteX370" fmla="*/ 11673713 w 12192000"/>
              <a:gd name="connsiteY370" fmla="*/ 800145 h 6858000"/>
              <a:gd name="connsiteX371" fmla="*/ 11680721 w 12192000"/>
              <a:gd name="connsiteY371" fmla="*/ 800145 h 6858000"/>
              <a:gd name="connsiteX372" fmla="*/ 11680721 w 12192000"/>
              <a:gd name="connsiteY372" fmla="*/ 759485 h 6858000"/>
              <a:gd name="connsiteX373" fmla="*/ 11679115 w 12192000"/>
              <a:gd name="connsiteY373" fmla="*/ 749448 h 6858000"/>
              <a:gd name="connsiteX374" fmla="*/ 11674443 w 12192000"/>
              <a:gd name="connsiteY374" fmla="*/ 741565 h 6858000"/>
              <a:gd name="connsiteX375" fmla="*/ 11666924 w 12192000"/>
              <a:gd name="connsiteY375" fmla="*/ 736418 h 6858000"/>
              <a:gd name="connsiteX376" fmla="*/ 11656814 w 12192000"/>
              <a:gd name="connsiteY376" fmla="*/ 734557 h 6858000"/>
              <a:gd name="connsiteX377" fmla="*/ 11525784 w 12192000"/>
              <a:gd name="connsiteY377" fmla="*/ 716089 h 6858000"/>
              <a:gd name="connsiteX378" fmla="*/ 11523521 w 12192000"/>
              <a:gd name="connsiteY378" fmla="*/ 716782 h 6858000"/>
              <a:gd name="connsiteX379" fmla="*/ 11522317 w 12192000"/>
              <a:gd name="connsiteY379" fmla="*/ 718717 h 6858000"/>
              <a:gd name="connsiteX380" fmla="*/ 11519069 w 12192000"/>
              <a:gd name="connsiteY380" fmla="*/ 736273 h 6858000"/>
              <a:gd name="connsiteX381" fmla="*/ 11508703 w 12192000"/>
              <a:gd name="connsiteY381" fmla="*/ 737952 h 6858000"/>
              <a:gd name="connsiteX382" fmla="*/ 11508703 w 12192000"/>
              <a:gd name="connsiteY382" fmla="*/ 744083 h 6858000"/>
              <a:gd name="connsiteX383" fmla="*/ 11509579 w 12192000"/>
              <a:gd name="connsiteY383" fmla="*/ 746529 h 6858000"/>
              <a:gd name="connsiteX384" fmla="*/ 11511696 w 12192000"/>
              <a:gd name="connsiteY384" fmla="*/ 747332 h 6858000"/>
              <a:gd name="connsiteX385" fmla="*/ 11518266 w 12192000"/>
              <a:gd name="connsiteY385" fmla="*/ 747332 h 6858000"/>
              <a:gd name="connsiteX386" fmla="*/ 11518266 w 12192000"/>
              <a:gd name="connsiteY386" fmla="*/ 783283 h 6858000"/>
              <a:gd name="connsiteX387" fmla="*/ 11522755 w 12192000"/>
              <a:gd name="connsiteY387" fmla="*/ 796349 h 6858000"/>
              <a:gd name="connsiteX388" fmla="*/ 11535639 w 12192000"/>
              <a:gd name="connsiteY388" fmla="*/ 801094 h 6858000"/>
              <a:gd name="connsiteX389" fmla="*/ 11544764 w 12192000"/>
              <a:gd name="connsiteY389" fmla="*/ 799671 h 6858000"/>
              <a:gd name="connsiteX390" fmla="*/ 11552538 w 12192000"/>
              <a:gd name="connsiteY390" fmla="*/ 795400 h 6858000"/>
              <a:gd name="connsiteX391" fmla="*/ 11547902 w 12192000"/>
              <a:gd name="connsiteY391" fmla="*/ 787882 h 6858000"/>
              <a:gd name="connsiteX392" fmla="*/ 11546953 w 12192000"/>
              <a:gd name="connsiteY392" fmla="*/ 786860 h 6858000"/>
              <a:gd name="connsiteX393" fmla="*/ 11545822 w 12192000"/>
              <a:gd name="connsiteY393" fmla="*/ 786531 h 6858000"/>
              <a:gd name="connsiteX394" fmla="*/ 11544691 w 12192000"/>
              <a:gd name="connsiteY394" fmla="*/ 786860 h 6858000"/>
              <a:gd name="connsiteX395" fmla="*/ 11543413 w 12192000"/>
              <a:gd name="connsiteY395" fmla="*/ 787590 h 6858000"/>
              <a:gd name="connsiteX396" fmla="*/ 11541734 w 12192000"/>
              <a:gd name="connsiteY396" fmla="*/ 788320 h 6858000"/>
              <a:gd name="connsiteX397" fmla="*/ 11539325 w 12192000"/>
              <a:gd name="connsiteY397" fmla="*/ 788648 h 6858000"/>
              <a:gd name="connsiteX398" fmla="*/ 11535274 w 12192000"/>
              <a:gd name="connsiteY398" fmla="*/ 786969 h 6858000"/>
              <a:gd name="connsiteX399" fmla="*/ 11533814 w 12192000"/>
              <a:gd name="connsiteY399" fmla="*/ 782261 h 6858000"/>
              <a:gd name="connsiteX400" fmla="*/ 11533814 w 12192000"/>
              <a:gd name="connsiteY400" fmla="*/ 747368 h 6858000"/>
              <a:gd name="connsiteX401" fmla="*/ 11551005 w 12192000"/>
              <a:gd name="connsiteY401" fmla="*/ 747368 h 6858000"/>
              <a:gd name="connsiteX402" fmla="*/ 11551005 w 12192000"/>
              <a:gd name="connsiteY402" fmla="*/ 736346 h 6858000"/>
              <a:gd name="connsiteX403" fmla="*/ 11533814 w 12192000"/>
              <a:gd name="connsiteY403" fmla="*/ 736346 h 6858000"/>
              <a:gd name="connsiteX404" fmla="*/ 11533814 w 12192000"/>
              <a:gd name="connsiteY404" fmla="*/ 716089 h 6858000"/>
              <a:gd name="connsiteX405" fmla="*/ 11381688 w 12192000"/>
              <a:gd name="connsiteY405" fmla="*/ 708826 h 6858000"/>
              <a:gd name="connsiteX406" fmla="*/ 11381688 w 12192000"/>
              <a:gd name="connsiteY406" fmla="*/ 745836 h 6858000"/>
              <a:gd name="connsiteX407" fmla="*/ 11373585 w 12192000"/>
              <a:gd name="connsiteY407" fmla="*/ 738937 h 6858000"/>
              <a:gd name="connsiteX408" fmla="*/ 11362599 w 12192000"/>
              <a:gd name="connsiteY408" fmla="*/ 736601 h 6858000"/>
              <a:gd name="connsiteX409" fmla="*/ 11350956 w 12192000"/>
              <a:gd name="connsiteY409" fmla="*/ 739120 h 6858000"/>
              <a:gd name="connsiteX410" fmla="*/ 11342452 w 12192000"/>
              <a:gd name="connsiteY410" fmla="*/ 745982 h 6858000"/>
              <a:gd name="connsiteX411" fmla="*/ 11337196 w 12192000"/>
              <a:gd name="connsiteY411" fmla="*/ 756274 h 6858000"/>
              <a:gd name="connsiteX412" fmla="*/ 11335408 w 12192000"/>
              <a:gd name="connsiteY412" fmla="*/ 769049 h 6858000"/>
              <a:gd name="connsiteX413" fmla="*/ 11341795 w 12192000"/>
              <a:gd name="connsiteY413" fmla="*/ 792955 h 6858000"/>
              <a:gd name="connsiteX414" fmla="*/ 11359753 w 12192000"/>
              <a:gd name="connsiteY414" fmla="*/ 800912 h 6858000"/>
              <a:gd name="connsiteX415" fmla="*/ 11372162 w 12192000"/>
              <a:gd name="connsiteY415" fmla="*/ 797591 h 6858000"/>
              <a:gd name="connsiteX416" fmla="*/ 11381834 w 12192000"/>
              <a:gd name="connsiteY416" fmla="*/ 788612 h 6858000"/>
              <a:gd name="connsiteX417" fmla="*/ 11382455 w 12192000"/>
              <a:gd name="connsiteY417" fmla="*/ 798466 h 6858000"/>
              <a:gd name="connsiteX418" fmla="*/ 11384353 w 12192000"/>
              <a:gd name="connsiteY418" fmla="*/ 800109 h 6858000"/>
              <a:gd name="connsiteX419" fmla="*/ 11387601 w 12192000"/>
              <a:gd name="connsiteY419" fmla="*/ 800109 h 6858000"/>
              <a:gd name="connsiteX420" fmla="*/ 11387601 w 12192000"/>
              <a:gd name="connsiteY420" fmla="*/ 708826 h 6858000"/>
              <a:gd name="connsiteX421" fmla="*/ 11058530 w 12192000"/>
              <a:gd name="connsiteY421" fmla="*/ 708826 h 6858000"/>
              <a:gd name="connsiteX422" fmla="*/ 11058530 w 12192000"/>
              <a:gd name="connsiteY422" fmla="*/ 800109 h 6858000"/>
              <a:gd name="connsiteX423" fmla="*/ 11064552 w 12192000"/>
              <a:gd name="connsiteY423" fmla="*/ 800109 h 6858000"/>
              <a:gd name="connsiteX424" fmla="*/ 11064552 w 12192000"/>
              <a:gd name="connsiteY424" fmla="*/ 708826 h 6858000"/>
              <a:gd name="connsiteX425" fmla="*/ 11560896 w 12192000"/>
              <a:gd name="connsiteY425" fmla="*/ 706855 h 6858000"/>
              <a:gd name="connsiteX426" fmla="*/ 11560896 w 12192000"/>
              <a:gd name="connsiteY426" fmla="*/ 800072 h 6858000"/>
              <a:gd name="connsiteX427" fmla="*/ 11576371 w 12192000"/>
              <a:gd name="connsiteY427" fmla="*/ 800072 h 6858000"/>
              <a:gd name="connsiteX428" fmla="*/ 11576371 w 12192000"/>
              <a:gd name="connsiteY428" fmla="*/ 753537 h 6858000"/>
              <a:gd name="connsiteX429" fmla="*/ 11583014 w 12192000"/>
              <a:gd name="connsiteY429" fmla="*/ 748573 h 6858000"/>
              <a:gd name="connsiteX430" fmla="*/ 11590533 w 12192000"/>
              <a:gd name="connsiteY430" fmla="*/ 746748 h 6858000"/>
              <a:gd name="connsiteX431" fmla="*/ 11598745 w 12192000"/>
              <a:gd name="connsiteY431" fmla="*/ 749996 h 6858000"/>
              <a:gd name="connsiteX432" fmla="*/ 11601446 w 12192000"/>
              <a:gd name="connsiteY432" fmla="*/ 759121 h 6858000"/>
              <a:gd name="connsiteX433" fmla="*/ 11601446 w 12192000"/>
              <a:gd name="connsiteY433" fmla="*/ 800072 h 6858000"/>
              <a:gd name="connsiteX434" fmla="*/ 11616921 w 12192000"/>
              <a:gd name="connsiteY434" fmla="*/ 800072 h 6858000"/>
              <a:gd name="connsiteX435" fmla="*/ 11616921 w 12192000"/>
              <a:gd name="connsiteY435" fmla="*/ 759121 h 6858000"/>
              <a:gd name="connsiteX436" fmla="*/ 11615498 w 12192000"/>
              <a:gd name="connsiteY436" fmla="*/ 749230 h 6858000"/>
              <a:gd name="connsiteX437" fmla="*/ 11611373 w 12192000"/>
              <a:gd name="connsiteY437" fmla="*/ 741529 h 6858000"/>
              <a:gd name="connsiteX438" fmla="*/ 11604585 w 12192000"/>
              <a:gd name="connsiteY438" fmla="*/ 736528 h 6858000"/>
              <a:gd name="connsiteX439" fmla="*/ 11595241 w 12192000"/>
              <a:gd name="connsiteY439" fmla="*/ 734740 h 6858000"/>
              <a:gd name="connsiteX440" fmla="*/ 11584657 w 12192000"/>
              <a:gd name="connsiteY440" fmla="*/ 736930 h 6858000"/>
              <a:gd name="connsiteX441" fmla="*/ 11576371 w 12192000"/>
              <a:gd name="connsiteY441" fmla="*/ 742624 h 6858000"/>
              <a:gd name="connsiteX442" fmla="*/ 11576371 w 12192000"/>
              <a:gd name="connsiteY442" fmla="*/ 706855 h 6858000"/>
              <a:gd name="connsiteX443" fmla="*/ 11321539 w 12192000"/>
              <a:gd name="connsiteY443" fmla="*/ 434247 h 6858000"/>
              <a:gd name="connsiteX444" fmla="*/ 11348438 w 12192000"/>
              <a:gd name="connsiteY444" fmla="*/ 434247 h 6858000"/>
              <a:gd name="connsiteX445" fmla="*/ 11348438 w 12192000"/>
              <a:gd name="connsiteY445" fmla="*/ 438846 h 6858000"/>
              <a:gd name="connsiteX446" fmla="*/ 11333730 w 12192000"/>
              <a:gd name="connsiteY446" fmla="*/ 494871 h 6858000"/>
              <a:gd name="connsiteX447" fmla="*/ 11292340 w 12192000"/>
              <a:gd name="connsiteY447" fmla="*/ 514909 h 6858000"/>
              <a:gd name="connsiteX448" fmla="*/ 11264273 w 12192000"/>
              <a:gd name="connsiteY448" fmla="*/ 504616 h 6858000"/>
              <a:gd name="connsiteX449" fmla="*/ 11253907 w 12192000"/>
              <a:gd name="connsiteY449" fmla="*/ 476877 h 6858000"/>
              <a:gd name="connsiteX450" fmla="*/ 11268872 w 12192000"/>
              <a:gd name="connsiteY450" fmla="*/ 443883 h 6858000"/>
              <a:gd name="connsiteX451" fmla="*/ 11321539 w 12192000"/>
              <a:gd name="connsiteY451" fmla="*/ 434247 h 6858000"/>
              <a:gd name="connsiteX452" fmla="*/ 11301684 w 12192000"/>
              <a:gd name="connsiteY452" fmla="*/ 291866 h 6858000"/>
              <a:gd name="connsiteX453" fmla="*/ 11253068 w 12192000"/>
              <a:gd name="connsiteY453" fmla="*/ 296209 h 6858000"/>
              <a:gd name="connsiteX454" fmla="*/ 11207882 w 12192000"/>
              <a:gd name="connsiteY454" fmla="*/ 309750 h 6858000"/>
              <a:gd name="connsiteX455" fmla="*/ 11207882 w 12192000"/>
              <a:gd name="connsiteY455" fmla="*/ 367053 h 6858000"/>
              <a:gd name="connsiteX456" fmla="*/ 11255039 w 12192000"/>
              <a:gd name="connsiteY456" fmla="*/ 347599 h 6858000"/>
              <a:gd name="connsiteX457" fmla="*/ 11301720 w 12192000"/>
              <a:gd name="connsiteY457" fmla="*/ 341504 h 6858000"/>
              <a:gd name="connsiteX458" fmla="*/ 11336576 w 12192000"/>
              <a:gd name="connsiteY458" fmla="*/ 349899 h 6858000"/>
              <a:gd name="connsiteX459" fmla="*/ 11348438 w 12192000"/>
              <a:gd name="connsiteY459" fmla="*/ 374572 h 6858000"/>
              <a:gd name="connsiteX460" fmla="*/ 11348438 w 12192000"/>
              <a:gd name="connsiteY460" fmla="*/ 385667 h 6858000"/>
              <a:gd name="connsiteX461" fmla="*/ 11301757 w 12192000"/>
              <a:gd name="connsiteY461" fmla="*/ 385667 h 6858000"/>
              <a:gd name="connsiteX462" fmla="*/ 11211532 w 12192000"/>
              <a:gd name="connsiteY462" fmla="*/ 407128 h 6858000"/>
              <a:gd name="connsiteX463" fmla="*/ 11182370 w 12192000"/>
              <a:gd name="connsiteY463" fmla="*/ 473629 h 6858000"/>
              <a:gd name="connsiteX464" fmla="*/ 11206824 w 12192000"/>
              <a:gd name="connsiteY464" fmla="*/ 538414 h 6858000"/>
              <a:gd name="connsiteX465" fmla="*/ 11275149 w 12192000"/>
              <a:gd name="connsiteY465" fmla="*/ 561590 h 6858000"/>
              <a:gd name="connsiteX466" fmla="*/ 11317196 w 12192000"/>
              <a:gd name="connsiteY466" fmla="*/ 552393 h 6858000"/>
              <a:gd name="connsiteX467" fmla="*/ 11348438 w 12192000"/>
              <a:gd name="connsiteY467" fmla="*/ 526187 h 6858000"/>
              <a:gd name="connsiteX468" fmla="*/ 11348438 w 12192000"/>
              <a:gd name="connsiteY468" fmla="*/ 555021 h 6858000"/>
              <a:gd name="connsiteX469" fmla="*/ 11415231 w 12192000"/>
              <a:gd name="connsiteY469" fmla="*/ 555021 h 6858000"/>
              <a:gd name="connsiteX470" fmla="*/ 11415231 w 12192000"/>
              <a:gd name="connsiteY470" fmla="*/ 408223 h 6858000"/>
              <a:gd name="connsiteX471" fmla="*/ 11389791 w 12192000"/>
              <a:gd name="connsiteY471" fmla="*/ 317306 h 6858000"/>
              <a:gd name="connsiteX472" fmla="*/ 11301684 w 12192000"/>
              <a:gd name="connsiteY472" fmla="*/ 291866 h 6858000"/>
              <a:gd name="connsiteX473" fmla="*/ 11492899 w 12192000"/>
              <a:gd name="connsiteY473" fmla="*/ 225110 h 6858000"/>
              <a:gd name="connsiteX474" fmla="*/ 11492899 w 12192000"/>
              <a:gd name="connsiteY474" fmla="*/ 298107 h 6858000"/>
              <a:gd name="connsiteX475" fmla="*/ 11427202 w 12192000"/>
              <a:gd name="connsiteY475" fmla="*/ 298107 h 6858000"/>
              <a:gd name="connsiteX476" fmla="*/ 11427202 w 12192000"/>
              <a:gd name="connsiteY476" fmla="*/ 349935 h 6858000"/>
              <a:gd name="connsiteX477" fmla="*/ 11492899 w 12192000"/>
              <a:gd name="connsiteY477" fmla="*/ 349935 h 6858000"/>
              <a:gd name="connsiteX478" fmla="*/ 11492899 w 12192000"/>
              <a:gd name="connsiteY478" fmla="*/ 467971 h 6858000"/>
              <a:gd name="connsiteX479" fmla="*/ 11513302 w 12192000"/>
              <a:gd name="connsiteY479" fmla="*/ 536552 h 6858000"/>
              <a:gd name="connsiteX480" fmla="*/ 11591518 w 12192000"/>
              <a:gd name="connsiteY480" fmla="*/ 555057 h 6858000"/>
              <a:gd name="connsiteX481" fmla="*/ 11648018 w 12192000"/>
              <a:gd name="connsiteY481" fmla="*/ 555057 h 6858000"/>
              <a:gd name="connsiteX482" fmla="*/ 11648018 w 12192000"/>
              <a:gd name="connsiteY482" fmla="*/ 503229 h 6858000"/>
              <a:gd name="connsiteX483" fmla="*/ 11596336 w 12192000"/>
              <a:gd name="connsiteY483" fmla="*/ 503229 h 6858000"/>
              <a:gd name="connsiteX484" fmla="*/ 11568415 w 12192000"/>
              <a:gd name="connsiteY484" fmla="*/ 495783 h 6858000"/>
              <a:gd name="connsiteX485" fmla="*/ 11560020 w 12192000"/>
              <a:gd name="connsiteY485" fmla="*/ 471183 h 6858000"/>
              <a:gd name="connsiteX486" fmla="*/ 11560020 w 12192000"/>
              <a:gd name="connsiteY486" fmla="*/ 349935 h 6858000"/>
              <a:gd name="connsiteX487" fmla="*/ 11647982 w 12192000"/>
              <a:gd name="connsiteY487" fmla="*/ 349935 h 6858000"/>
              <a:gd name="connsiteX488" fmla="*/ 11647982 w 12192000"/>
              <a:gd name="connsiteY488" fmla="*/ 298107 h 6858000"/>
              <a:gd name="connsiteX489" fmla="*/ 11560020 w 12192000"/>
              <a:gd name="connsiteY489" fmla="*/ 298107 h 6858000"/>
              <a:gd name="connsiteX490" fmla="*/ 11560020 w 12192000"/>
              <a:gd name="connsiteY490" fmla="*/ 225110 h 6858000"/>
              <a:gd name="connsiteX491" fmla="*/ 11773427 w 12192000"/>
              <a:gd name="connsiteY491" fmla="*/ 198101 h 6858000"/>
              <a:gd name="connsiteX492" fmla="*/ 11773427 w 12192000"/>
              <a:gd name="connsiteY492" fmla="*/ 241534 h 6858000"/>
              <a:gd name="connsiteX493" fmla="*/ 11828905 w 12192000"/>
              <a:gd name="connsiteY493" fmla="*/ 241534 h 6858000"/>
              <a:gd name="connsiteX494" fmla="*/ 11828905 w 12192000"/>
              <a:gd name="connsiteY494" fmla="*/ 573671 h 6858000"/>
              <a:gd name="connsiteX495" fmla="*/ 11773427 w 12192000"/>
              <a:gd name="connsiteY495" fmla="*/ 573671 h 6858000"/>
              <a:gd name="connsiteX496" fmla="*/ 11773427 w 12192000"/>
              <a:gd name="connsiteY496" fmla="*/ 617105 h 6858000"/>
              <a:gd name="connsiteX497" fmla="*/ 11889857 w 12192000"/>
              <a:gd name="connsiteY497" fmla="*/ 617105 h 6858000"/>
              <a:gd name="connsiteX498" fmla="*/ 11889857 w 12192000"/>
              <a:gd name="connsiteY498" fmla="*/ 198101 h 6858000"/>
              <a:gd name="connsiteX499" fmla="*/ 10990132 w 12192000"/>
              <a:gd name="connsiteY499" fmla="*/ 197736 h 6858000"/>
              <a:gd name="connsiteX500" fmla="*/ 10990132 w 12192000"/>
              <a:gd name="connsiteY500" fmla="*/ 617105 h 6858000"/>
              <a:gd name="connsiteX501" fmla="*/ 11106635 w 12192000"/>
              <a:gd name="connsiteY501" fmla="*/ 617105 h 6858000"/>
              <a:gd name="connsiteX502" fmla="*/ 11106635 w 12192000"/>
              <a:gd name="connsiteY502" fmla="*/ 573671 h 6858000"/>
              <a:gd name="connsiteX503" fmla="*/ 11051085 w 12192000"/>
              <a:gd name="connsiteY503" fmla="*/ 573671 h 6858000"/>
              <a:gd name="connsiteX504" fmla="*/ 11051085 w 12192000"/>
              <a:gd name="connsiteY504" fmla="*/ 241169 h 6858000"/>
              <a:gd name="connsiteX505" fmla="*/ 11106635 w 12192000"/>
              <a:gd name="connsiteY505" fmla="*/ 241169 h 6858000"/>
              <a:gd name="connsiteX506" fmla="*/ 11106635 w 12192000"/>
              <a:gd name="connsiteY506" fmla="*/ 197736 h 6858000"/>
              <a:gd name="connsiteX507" fmla="*/ 0 w 12192000"/>
              <a:gd name="connsiteY507" fmla="*/ 0 h 6858000"/>
              <a:gd name="connsiteX508" fmla="*/ 12192000 w 12192000"/>
              <a:gd name="connsiteY508" fmla="*/ 0 h 6858000"/>
              <a:gd name="connsiteX509" fmla="*/ 12192000 w 12192000"/>
              <a:gd name="connsiteY509" fmla="*/ 6858000 h 6858000"/>
              <a:gd name="connsiteX510" fmla="*/ 0 w 12192000"/>
              <a:gd name="connsiteY5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</a:cxnLst>
            <a:rect l="l" t="t" r="r" b="b"/>
            <a:pathLst>
              <a:path w="12192000" h="6858000">
                <a:moveTo>
                  <a:pt x="11665610" y="772625"/>
                </a:moveTo>
                <a:lnTo>
                  <a:pt x="11665610" y="783465"/>
                </a:lnTo>
                <a:cubicBezTo>
                  <a:pt x="11663421" y="785837"/>
                  <a:pt x="11661158" y="787553"/>
                  <a:pt x="11658822" y="788721"/>
                </a:cubicBezTo>
                <a:cubicBezTo>
                  <a:pt x="11656486" y="789852"/>
                  <a:pt x="11653748" y="790436"/>
                  <a:pt x="11650573" y="790436"/>
                </a:cubicBezTo>
                <a:cubicBezTo>
                  <a:pt x="11647982" y="790436"/>
                  <a:pt x="11645865" y="789852"/>
                  <a:pt x="11644259" y="788684"/>
                </a:cubicBezTo>
                <a:cubicBezTo>
                  <a:pt x="11642653" y="787516"/>
                  <a:pt x="11641850" y="785545"/>
                  <a:pt x="11641850" y="782845"/>
                </a:cubicBezTo>
                <a:cubicBezTo>
                  <a:pt x="11641850" y="781458"/>
                  <a:pt x="11642251" y="780180"/>
                  <a:pt x="11643054" y="779012"/>
                </a:cubicBezTo>
                <a:cubicBezTo>
                  <a:pt x="11643821" y="777844"/>
                  <a:pt x="11645171" y="776822"/>
                  <a:pt x="11646996" y="775946"/>
                </a:cubicBezTo>
                <a:cubicBezTo>
                  <a:pt x="11648821" y="775070"/>
                  <a:pt x="11651266" y="774340"/>
                  <a:pt x="11654332" y="773793"/>
                </a:cubicBezTo>
                <a:cubicBezTo>
                  <a:pt x="11657362" y="773209"/>
                  <a:pt x="11661121" y="772844"/>
                  <a:pt x="11665610" y="772625"/>
                </a:cubicBezTo>
                <a:close/>
                <a:moveTo>
                  <a:pt x="11244271" y="769924"/>
                </a:moveTo>
                <a:lnTo>
                  <a:pt x="11244308" y="769924"/>
                </a:lnTo>
                <a:lnTo>
                  <a:pt x="11244308" y="786276"/>
                </a:lnTo>
                <a:cubicBezTo>
                  <a:pt x="11242848" y="787772"/>
                  <a:pt x="11241352" y="789195"/>
                  <a:pt x="11239855" y="790473"/>
                </a:cubicBezTo>
                <a:cubicBezTo>
                  <a:pt x="11238359" y="791787"/>
                  <a:pt x="11236753" y="792882"/>
                  <a:pt x="11235001" y="793831"/>
                </a:cubicBezTo>
                <a:cubicBezTo>
                  <a:pt x="11233249" y="794780"/>
                  <a:pt x="11231387" y="795510"/>
                  <a:pt x="11229344" y="796021"/>
                </a:cubicBezTo>
                <a:cubicBezTo>
                  <a:pt x="11227300" y="796532"/>
                  <a:pt x="11225073" y="796787"/>
                  <a:pt x="11222664" y="796787"/>
                </a:cubicBezTo>
                <a:cubicBezTo>
                  <a:pt x="11221022" y="796787"/>
                  <a:pt x="11219452" y="796568"/>
                  <a:pt x="11217956" y="796094"/>
                </a:cubicBezTo>
                <a:cubicBezTo>
                  <a:pt x="11216460" y="795656"/>
                  <a:pt x="11215109" y="794926"/>
                  <a:pt x="11213978" y="793940"/>
                </a:cubicBezTo>
                <a:cubicBezTo>
                  <a:pt x="11212810" y="792955"/>
                  <a:pt x="11211897" y="791714"/>
                  <a:pt x="11211204" y="790181"/>
                </a:cubicBezTo>
                <a:cubicBezTo>
                  <a:pt x="11210510" y="788648"/>
                  <a:pt x="11210182" y="786823"/>
                  <a:pt x="11210182" y="784743"/>
                </a:cubicBezTo>
                <a:cubicBezTo>
                  <a:pt x="11210182" y="782553"/>
                  <a:pt x="11210839" y="780582"/>
                  <a:pt x="11212189" y="778830"/>
                </a:cubicBezTo>
                <a:cubicBezTo>
                  <a:pt x="11213503" y="777078"/>
                  <a:pt x="11215584" y="775581"/>
                  <a:pt x="11218357" y="774341"/>
                </a:cubicBezTo>
                <a:cubicBezTo>
                  <a:pt x="11221131" y="773063"/>
                  <a:pt x="11224672" y="772078"/>
                  <a:pt x="11228942" y="771348"/>
                </a:cubicBezTo>
                <a:cubicBezTo>
                  <a:pt x="11233212" y="770618"/>
                  <a:pt x="11238322" y="770143"/>
                  <a:pt x="11244271" y="769924"/>
                </a:cubicBezTo>
                <a:close/>
                <a:moveTo>
                  <a:pt x="11032215" y="769924"/>
                </a:moveTo>
                <a:lnTo>
                  <a:pt x="11032251" y="769924"/>
                </a:lnTo>
                <a:lnTo>
                  <a:pt x="11032251" y="786276"/>
                </a:lnTo>
                <a:cubicBezTo>
                  <a:pt x="11030791" y="787772"/>
                  <a:pt x="11029295" y="789195"/>
                  <a:pt x="11027799" y="790473"/>
                </a:cubicBezTo>
                <a:cubicBezTo>
                  <a:pt x="11026302" y="791787"/>
                  <a:pt x="11024696" y="792882"/>
                  <a:pt x="11022944" y="793831"/>
                </a:cubicBezTo>
                <a:cubicBezTo>
                  <a:pt x="11021192" y="794780"/>
                  <a:pt x="11019331" y="795510"/>
                  <a:pt x="11017287" y="796021"/>
                </a:cubicBezTo>
                <a:cubicBezTo>
                  <a:pt x="11015243" y="796532"/>
                  <a:pt x="11013017" y="796787"/>
                  <a:pt x="11010608" y="796787"/>
                </a:cubicBezTo>
                <a:cubicBezTo>
                  <a:pt x="11008965" y="796787"/>
                  <a:pt x="11007396" y="796568"/>
                  <a:pt x="11005899" y="796094"/>
                </a:cubicBezTo>
                <a:cubicBezTo>
                  <a:pt x="11004403" y="795656"/>
                  <a:pt x="11003053" y="794926"/>
                  <a:pt x="11001921" y="793940"/>
                </a:cubicBezTo>
                <a:cubicBezTo>
                  <a:pt x="11000753" y="792955"/>
                  <a:pt x="10999841" y="791714"/>
                  <a:pt x="10999147" y="790181"/>
                </a:cubicBezTo>
                <a:cubicBezTo>
                  <a:pt x="10998454" y="788648"/>
                  <a:pt x="10998125" y="786823"/>
                  <a:pt x="10998125" y="784743"/>
                </a:cubicBezTo>
                <a:cubicBezTo>
                  <a:pt x="10998125" y="782553"/>
                  <a:pt x="10998782" y="780582"/>
                  <a:pt x="11000133" y="778830"/>
                </a:cubicBezTo>
                <a:cubicBezTo>
                  <a:pt x="11001447" y="777078"/>
                  <a:pt x="11003527" y="775581"/>
                  <a:pt x="11006301" y="774341"/>
                </a:cubicBezTo>
                <a:cubicBezTo>
                  <a:pt x="11009075" y="773063"/>
                  <a:pt x="11012615" y="772078"/>
                  <a:pt x="11016886" y="771348"/>
                </a:cubicBezTo>
                <a:cubicBezTo>
                  <a:pt x="11021156" y="770618"/>
                  <a:pt x="11026266" y="770143"/>
                  <a:pt x="11032215" y="769924"/>
                </a:cubicBezTo>
                <a:close/>
                <a:moveTo>
                  <a:pt x="11363804" y="741310"/>
                </a:moveTo>
                <a:cubicBezTo>
                  <a:pt x="11367527" y="741310"/>
                  <a:pt x="11370812" y="742040"/>
                  <a:pt x="11373731" y="743500"/>
                </a:cubicBezTo>
                <a:cubicBezTo>
                  <a:pt x="11376615" y="744960"/>
                  <a:pt x="11379279" y="747478"/>
                  <a:pt x="11381652" y="751091"/>
                </a:cubicBezTo>
                <a:lnTo>
                  <a:pt x="11381688" y="751091"/>
                </a:lnTo>
                <a:lnTo>
                  <a:pt x="11381688" y="783904"/>
                </a:lnTo>
                <a:cubicBezTo>
                  <a:pt x="11379097" y="787772"/>
                  <a:pt x="11376104" y="790765"/>
                  <a:pt x="11372710" y="792882"/>
                </a:cubicBezTo>
                <a:cubicBezTo>
                  <a:pt x="11369315" y="795036"/>
                  <a:pt x="11365556" y="796094"/>
                  <a:pt x="11361468" y="796094"/>
                </a:cubicBezTo>
                <a:cubicBezTo>
                  <a:pt x="11355008" y="796094"/>
                  <a:pt x="11350080" y="793904"/>
                  <a:pt x="11346686" y="789524"/>
                </a:cubicBezTo>
                <a:cubicBezTo>
                  <a:pt x="11343292" y="785144"/>
                  <a:pt x="11341576" y="778319"/>
                  <a:pt x="11341576" y="769049"/>
                </a:cubicBezTo>
                <a:cubicBezTo>
                  <a:pt x="11341576" y="764961"/>
                  <a:pt x="11342051" y="761201"/>
                  <a:pt x="11343000" y="757807"/>
                </a:cubicBezTo>
                <a:cubicBezTo>
                  <a:pt x="11343949" y="754376"/>
                  <a:pt x="11345336" y="751456"/>
                  <a:pt x="11347197" y="749011"/>
                </a:cubicBezTo>
                <a:cubicBezTo>
                  <a:pt x="11349058" y="746565"/>
                  <a:pt x="11351358" y="744668"/>
                  <a:pt x="11354132" y="743317"/>
                </a:cubicBezTo>
                <a:cubicBezTo>
                  <a:pt x="11356906" y="741967"/>
                  <a:pt x="11360118" y="741310"/>
                  <a:pt x="11363804" y="741310"/>
                </a:cubicBezTo>
                <a:close/>
                <a:moveTo>
                  <a:pt x="11432604" y="741126"/>
                </a:moveTo>
                <a:cubicBezTo>
                  <a:pt x="11435451" y="741126"/>
                  <a:pt x="11438042" y="741601"/>
                  <a:pt x="11440415" y="742586"/>
                </a:cubicBezTo>
                <a:cubicBezTo>
                  <a:pt x="11442787" y="743572"/>
                  <a:pt x="11444831" y="744995"/>
                  <a:pt x="11446546" y="746820"/>
                </a:cubicBezTo>
                <a:cubicBezTo>
                  <a:pt x="11448262" y="748682"/>
                  <a:pt x="11449576" y="750908"/>
                  <a:pt x="11450525" y="753572"/>
                </a:cubicBezTo>
                <a:cubicBezTo>
                  <a:pt x="11451474" y="756237"/>
                  <a:pt x="11451948" y="759230"/>
                  <a:pt x="11451948" y="762587"/>
                </a:cubicBezTo>
                <a:lnTo>
                  <a:pt x="11410595" y="762587"/>
                </a:lnTo>
                <a:cubicBezTo>
                  <a:pt x="11410960" y="759339"/>
                  <a:pt x="11411727" y="756383"/>
                  <a:pt x="11412858" y="753755"/>
                </a:cubicBezTo>
                <a:cubicBezTo>
                  <a:pt x="11413990" y="751090"/>
                  <a:pt x="11415486" y="748864"/>
                  <a:pt x="11417347" y="746966"/>
                </a:cubicBezTo>
                <a:cubicBezTo>
                  <a:pt x="11419209" y="745068"/>
                  <a:pt x="11421399" y="743645"/>
                  <a:pt x="11423954" y="742623"/>
                </a:cubicBezTo>
                <a:cubicBezTo>
                  <a:pt x="11426509" y="741637"/>
                  <a:pt x="11429392" y="741126"/>
                  <a:pt x="11432604" y="741126"/>
                </a:cubicBezTo>
                <a:close/>
                <a:moveTo>
                  <a:pt x="11110139" y="741126"/>
                </a:moveTo>
                <a:cubicBezTo>
                  <a:pt x="11112986" y="741126"/>
                  <a:pt x="11115577" y="741601"/>
                  <a:pt x="11117950" y="742586"/>
                </a:cubicBezTo>
                <a:cubicBezTo>
                  <a:pt x="11120322" y="743572"/>
                  <a:pt x="11122366" y="744995"/>
                  <a:pt x="11124081" y="746820"/>
                </a:cubicBezTo>
                <a:cubicBezTo>
                  <a:pt x="11125797" y="748682"/>
                  <a:pt x="11127111" y="750908"/>
                  <a:pt x="11128060" y="753572"/>
                </a:cubicBezTo>
                <a:cubicBezTo>
                  <a:pt x="11129009" y="756237"/>
                  <a:pt x="11129483" y="759230"/>
                  <a:pt x="11129483" y="762587"/>
                </a:cubicBezTo>
                <a:lnTo>
                  <a:pt x="11088130" y="762587"/>
                </a:lnTo>
                <a:cubicBezTo>
                  <a:pt x="11088495" y="759339"/>
                  <a:pt x="11089262" y="756383"/>
                  <a:pt x="11090393" y="753755"/>
                </a:cubicBezTo>
                <a:cubicBezTo>
                  <a:pt x="11091525" y="751090"/>
                  <a:pt x="11093021" y="748864"/>
                  <a:pt x="11094882" y="746966"/>
                </a:cubicBezTo>
                <a:cubicBezTo>
                  <a:pt x="11096744" y="745068"/>
                  <a:pt x="11098934" y="743645"/>
                  <a:pt x="11101489" y="742623"/>
                </a:cubicBezTo>
                <a:cubicBezTo>
                  <a:pt x="11104044" y="741637"/>
                  <a:pt x="11106927" y="741126"/>
                  <a:pt x="11110139" y="741126"/>
                </a:cubicBezTo>
                <a:close/>
                <a:moveTo>
                  <a:pt x="11143791" y="737659"/>
                </a:moveTo>
                <a:lnTo>
                  <a:pt x="11165617" y="768135"/>
                </a:lnTo>
                <a:lnTo>
                  <a:pt x="11142915" y="800072"/>
                </a:lnTo>
                <a:lnTo>
                  <a:pt x="11148317" y="800072"/>
                </a:lnTo>
                <a:cubicBezTo>
                  <a:pt x="11148828" y="800072"/>
                  <a:pt x="11149229" y="799889"/>
                  <a:pt x="11149558" y="799561"/>
                </a:cubicBezTo>
                <a:cubicBezTo>
                  <a:pt x="11149886" y="799232"/>
                  <a:pt x="11150178" y="798867"/>
                  <a:pt x="11150470" y="798502"/>
                </a:cubicBezTo>
                <a:lnTo>
                  <a:pt x="11168537" y="773026"/>
                </a:lnTo>
                <a:cubicBezTo>
                  <a:pt x="11169011" y="772333"/>
                  <a:pt x="11169303" y="771603"/>
                  <a:pt x="11169486" y="770836"/>
                </a:cubicBezTo>
                <a:lnTo>
                  <a:pt x="11188429" y="798502"/>
                </a:lnTo>
                <a:cubicBezTo>
                  <a:pt x="11188611" y="798831"/>
                  <a:pt x="11188903" y="799159"/>
                  <a:pt x="11189232" y="799524"/>
                </a:cubicBezTo>
                <a:cubicBezTo>
                  <a:pt x="11189560" y="799889"/>
                  <a:pt x="11190035" y="800072"/>
                  <a:pt x="11190619" y="800072"/>
                </a:cubicBezTo>
                <a:lnTo>
                  <a:pt x="11196312" y="800072"/>
                </a:lnTo>
                <a:lnTo>
                  <a:pt x="11173647" y="767770"/>
                </a:lnTo>
                <a:lnTo>
                  <a:pt x="11195400" y="737659"/>
                </a:lnTo>
                <a:lnTo>
                  <a:pt x="11189925" y="737659"/>
                </a:lnTo>
                <a:cubicBezTo>
                  <a:pt x="11189451" y="737659"/>
                  <a:pt x="11189086" y="737768"/>
                  <a:pt x="11188794" y="738024"/>
                </a:cubicBezTo>
                <a:cubicBezTo>
                  <a:pt x="11188502" y="738279"/>
                  <a:pt x="11188246" y="738608"/>
                  <a:pt x="11187991" y="738973"/>
                </a:cubicBezTo>
                <a:lnTo>
                  <a:pt x="11170873" y="763135"/>
                </a:lnTo>
                <a:cubicBezTo>
                  <a:pt x="11170690" y="763500"/>
                  <a:pt x="11170471" y="763901"/>
                  <a:pt x="11170289" y="764266"/>
                </a:cubicBezTo>
                <a:cubicBezTo>
                  <a:pt x="11170106" y="764631"/>
                  <a:pt x="11169960" y="764996"/>
                  <a:pt x="11169887" y="765325"/>
                </a:cubicBezTo>
                <a:lnTo>
                  <a:pt x="11151565" y="738900"/>
                </a:lnTo>
                <a:cubicBezTo>
                  <a:pt x="11151346" y="738571"/>
                  <a:pt x="11151091" y="738279"/>
                  <a:pt x="11150799" y="738024"/>
                </a:cubicBezTo>
                <a:cubicBezTo>
                  <a:pt x="11150507" y="737768"/>
                  <a:pt x="11150069" y="737659"/>
                  <a:pt x="11149485" y="737659"/>
                </a:cubicBezTo>
                <a:close/>
                <a:moveTo>
                  <a:pt x="11432494" y="736710"/>
                </a:moveTo>
                <a:cubicBezTo>
                  <a:pt x="11428042" y="736710"/>
                  <a:pt x="11424100" y="737513"/>
                  <a:pt x="11420596" y="739046"/>
                </a:cubicBezTo>
                <a:cubicBezTo>
                  <a:pt x="11417128" y="740579"/>
                  <a:pt x="11414172" y="742732"/>
                  <a:pt x="11411763" y="745470"/>
                </a:cubicBezTo>
                <a:cubicBezTo>
                  <a:pt x="11409354" y="748207"/>
                  <a:pt x="11407529" y="751455"/>
                  <a:pt x="11406252" y="755251"/>
                </a:cubicBezTo>
                <a:cubicBezTo>
                  <a:pt x="11404974" y="759011"/>
                  <a:pt x="11404354" y="763135"/>
                  <a:pt x="11404354" y="767624"/>
                </a:cubicBezTo>
                <a:cubicBezTo>
                  <a:pt x="11404354" y="772953"/>
                  <a:pt x="11405047" y="777661"/>
                  <a:pt x="11406398" y="781786"/>
                </a:cubicBezTo>
                <a:cubicBezTo>
                  <a:pt x="11407748" y="785910"/>
                  <a:pt x="11409683" y="789377"/>
                  <a:pt x="11412201" y="792224"/>
                </a:cubicBezTo>
                <a:cubicBezTo>
                  <a:pt x="11414683" y="795071"/>
                  <a:pt x="11417676" y="797225"/>
                  <a:pt x="11421216" y="798721"/>
                </a:cubicBezTo>
                <a:cubicBezTo>
                  <a:pt x="11424757" y="800218"/>
                  <a:pt x="11428626" y="800947"/>
                  <a:pt x="11432896" y="800947"/>
                </a:cubicBezTo>
                <a:cubicBezTo>
                  <a:pt x="11435268" y="800947"/>
                  <a:pt x="11437568" y="800728"/>
                  <a:pt x="11439904" y="800254"/>
                </a:cubicBezTo>
                <a:cubicBezTo>
                  <a:pt x="11442239" y="799780"/>
                  <a:pt x="11444393" y="799159"/>
                  <a:pt x="11446437" y="798393"/>
                </a:cubicBezTo>
                <a:cubicBezTo>
                  <a:pt x="11448444" y="797626"/>
                  <a:pt x="11450306" y="796714"/>
                  <a:pt x="11451948" y="795619"/>
                </a:cubicBezTo>
                <a:cubicBezTo>
                  <a:pt x="11453591" y="794524"/>
                  <a:pt x="11454904" y="793356"/>
                  <a:pt x="11455926" y="792115"/>
                </a:cubicBezTo>
                <a:lnTo>
                  <a:pt x="11454284" y="790107"/>
                </a:lnTo>
                <a:cubicBezTo>
                  <a:pt x="11453992" y="789706"/>
                  <a:pt x="11453591" y="789487"/>
                  <a:pt x="11453043" y="789487"/>
                </a:cubicBezTo>
                <a:cubicBezTo>
                  <a:pt x="11452642" y="789487"/>
                  <a:pt x="11451948" y="789815"/>
                  <a:pt x="11451036" y="790509"/>
                </a:cubicBezTo>
                <a:cubicBezTo>
                  <a:pt x="11450123" y="791202"/>
                  <a:pt x="11448882" y="792005"/>
                  <a:pt x="11447313" y="792845"/>
                </a:cubicBezTo>
                <a:cubicBezTo>
                  <a:pt x="11445743" y="793721"/>
                  <a:pt x="11443809" y="794487"/>
                  <a:pt x="11441510" y="795181"/>
                </a:cubicBezTo>
                <a:cubicBezTo>
                  <a:pt x="11439210" y="795874"/>
                  <a:pt x="11436509" y="796203"/>
                  <a:pt x="11433370" y="796203"/>
                </a:cubicBezTo>
                <a:cubicBezTo>
                  <a:pt x="11429866" y="796203"/>
                  <a:pt x="11426691" y="795582"/>
                  <a:pt x="11423844" y="794378"/>
                </a:cubicBezTo>
                <a:cubicBezTo>
                  <a:pt x="11420997" y="793137"/>
                  <a:pt x="11418588" y="791348"/>
                  <a:pt x="11416581" y="788939"/>
                </a:cubicBezTo>
                <a:cubicBezTo>
                  <a:pt x="11414574" y="786531"/>
                  <a:pt x="11413041" y="783538"/>
                  <a:pt x="11411946" y="779997"/>
                </a:cubicBezTo>
                <a:cubicBezTo>
                  <a:pt x="11410851" y="776420"/>
                  <a:pt x="11410303" y="772296"/>
                  <a:pt x="11410303" y="767624"/>
                </a:cubicBezTo>
                <a:lnTo>
                  <a:pt x="11410303" y="766493"/>
                </a:lnTo>
                <a:lnTo>
                  <a:pt x="11455671" y="766493"/>
                </a:lnTo>
                <a:cubicBezTo>
                  <a:pt x="11456255" y="766493"/>
                  <a:pt x="11456656" y="766310"/>
                  <a:pt x="11456912" y="765982"/>
                </a:cubicBezTo>
                <a:cubicBezTo>
                  <a:pt x="11457167" y="765617"/>
                  <a:pt x="11457277" y="764996"/>
                  <a:pt x="11457277" y="764084"/>
                </a:cubicBezTo>
                <a:cubicBezTo>
                  <a:pt x="11457277" y="759668"/>
                  <a:pt x="11456656" y="755799"/>
                  <a:pt x="11455379" y="752404"/>
                </a:cubicBezTo>
                <a:cubicBezTo>
                  <a:pt x="11454102" y="749010"/>
                  <a:pt x="11452350" y="746163"/>
                  <a:pt x="11450123" y="743827"/>
                </a:cubicBezTo>
                <a:cubicBezTo>
                  <a:pt x="11447897" y="741528"/>
                  <a:pt x="11445269" y="739739"/>
                  <a:pt x="11442276" y="738535"/>
                </a:cubicBezTo>
                <a:cubicBezTo>
                  <a:pt x="11439283" y="737331"/>
                  <a:pt x="11435998" y="736710"/>
                  <a:pt x="11432494" y="736710"/>
                </a:cubicBezTo>
                <a:close/>
                <a:moveTo>
                  <a:pt x="11110029" y="736710"/>
                </a:moveTo>
                <a:cubicBezTo>
                  <a:pt x="11105577" y="736710"/>
                  <a:pt x="11101635" y="737513"/>
                  <a:pt x="11098131" y="739046"/>
                </a:cubicBezTo>
                <a:cubicBezTo>
                  <a:pt x="11094663" y="740579"/>
                  <a:pt x="11091707" y="742732"/>
                  <a:pt x="11089298" y="745470"/>
                </a:cubicBezTo>
                <a:cubicBezTo>
                  <a:pt x="11086889" y="748207"/>
                  <a:pt x="11085064" y="751455"/>
                  <a:pt x="11083787" y="755251"/>
                </a:cubicBezTo>
                <a:cubicBezTo>
                  <a:pt x="11082509" y="759011"/>
                  <a:pt x="11081889" y="763135"/>
                  <a:pt x="11081889" y="767624"/>
                </a:cubicBezTo>
                <a:cubicBezTo>
                  <a:pt x="11081889" y="772953"/>
                  <a:pt x="11082582" y="777661"/>
                  <a:pt x="11083933" y="781786"/>
                </a:cubicBezTo>
                <a:cubicBezTo>
                  <a:pt x="11085283" y="785910"/>
                  <a:pt x="11087218" y="789377"/>
                  <a:pt x="11089736" y="792224"/>
                </a:cubicBezTo>
                <a:cubicBezTo>
                  <a:pt x="11092218" y="795071"/>
                  <a:pt x="11095247" y="797225"/>
                  <a:pt x="11098751" y="798721"/>
                </a:cubicBezTo>
                <a:cubicBezTo>
                  <a:pt x="11102292" y="800218"/>
                  <a:pt x="11106161" y="800947"/>
                  <a:pt x="11110431" y="800947"/>
                </a:cubicBezTo>
                <a:cubicBezTo>
                  <a:pt x="11112803" y="800947"/>
                  <a:pt x="11115103" y="800728"/>
                  <a:pt x="11117439" y="800254"/>
                </a:cubicBezTo>
                <a:cubicBezTo>
                  <a:pt x="11119774" y="799780"/>
                  <a:pt x="11121928" y="799159"/>
                  <a:pt x="11123972" y="798393"/>
                </a:cubicBezTo>
                <a:cubicBezTo>
                  <a:pt x="11125979" y="797626"/>
                  <a:pt x="11127841" y="796714"/>
                  <a:pt x="11129483" y="795619"/>
                </a:cubicBezTo>
                <a:cubicBezTo>
                  <a:pt x="11131126" y="794524"/>
                  <a:pt x="11132439" y="793356"/>
                  <a:pt x="11133461" y="792115"/>
                </a:cubicBezTo>
                <a:lnTo>
                  <a:pt x="11131819" y="790107"/>
                </a:lnTo>
                <a:cubicBezTo>
                  <a:pt x="11131527" y="789706"/>
                  <a:pt x="11131126" y="789487"/>
                  <a:pt x="11130578" y="789487"/>
                </a:cubicBezTo>
                <a:cubicBezTo>
                  <a:pt x="11130177" y="789487"/>
                  <a:pt x="11129483" y="789815"/>
                  <a:pt x="11128571" y="790509"/>
                </a:cubicBezTo>
                <a:cubicBezTo>
                  <a:pt x="11127658" y="791202"/>
                  <a:pt x="11126417" y="792005"/>
                  <a:pt x="11124848" y="792845"/>
                </a:cubicBezTo>
                <a:cubicBezTo>
                  <a:pt x="11123278" y="793721"/>
                  <a:pt x="11121344" y="794487"/>
                  <a:pt x="11119045" y="795181"/>
                </a:cubicBezTo>
                <a:cubicBezTo>
                  <a:pt x="11116745" y="795874"/>
                  <a:pt x="11114044" y="796203"/>
                  <a:pt x="11110905" y="796203"/>
                </a:cubicBezTo>
                <a:cubicBezTo>
                  <a:pt x="11107401" y="796203"/>
                  <a:pt x="11104226" y="795582"/>
                  <a:pt x="11101379" y="794378"/>
                </a:cubicBezTo>
                <a:cubicBezTo>
                  <a:pt x="11098532" y="793137"/>
                  <a:pt x="11096123" y="791348"/>
                  <a:pt x="11094116" y="788939"/>
                </a:cubicBezTo>
                <a:cubicBezTo>
                  <a:pt x="11092109" y="786531"/>
                  <a:pt x="11090576" y="783538"/>
                  <a:pt x="11089481" y="779997"/>
                </a:cubicBezTo>
                <a:cubicBezTo>
                  <a:pt x="11088386" y="776420"/>
                  <a:pt x="11087838" y="772296"/>
                  <a:pt x="11087838" y="767624"/>
                </a:cubicBezTo>
                <a:lnTo>
                  <a:pt x="11087838" y="766493"/>
                </a:lnTo>
                <a:lnTo>
                  <a:pt x="11133206" y="766493"/>
                </a:lnTo>
                <a:cubicBezTo>
                  <a:pt x="11133790" y="766493"/>
                  <a:pt x="11134191" y="766310"/>
                  <a:pt x="11134447" y="765982"/>
                </a:cubicBezTo>
                <a:cubicBezTo>
                  <a:pt x="11134702" y="765617"/>
                  <a:pt x="11134812" y="764996"/>
                  <a:pt x="11134812" y="764084"/>
                </a:cubicBezTo>
                <a:cubicBezTo>
                  <a:pt x="11134812" y="759668"/>
                  <a:pt x="11134191" y="755799"/>
                  <a:pt x="11132914" y="752404"/>
                </a:cubicBezTo>
                <a:cubicBezTo>
                  <a:pt x="11131637" y="749010"/>
                  <a:pt x="11129885" y="746163"/>
                  <a:pt x="11127658" y="743827"/>
                </a:cubicBezTo>
                <a:cubicBezTo>
                  <a:pt x="11125432" y="741528"/>
                  <a:pt x="11122804" y="739739"/>
                  <a:pt x="11119811" y="738535"/>
                </a:cubicBezTo>
                <a:cubicBezTo>
                  <a:pt x="11116818" y="737331"/>
                  <a:pt x="11113533" y="736710"/>
                  <a:pt x="11110029" y="736710"/>
                </a:cubicBezTo>
                <a:close/>
                <a:moveTo>
                  <a:pt x="11298399" y="736674"/>
                </a:moveTo>
                <a:cubicBezTo>
                  <a:pt x="11293764" y="736674"/>
                  <a:pt x="11289566" y="737732"/>
                  <a:pt x="11285770" y="739922"/>
                </a:cubicBezTo>
                <a:cubicBezTo>
                  <a:pt x="11281975" y="742076"/>
                  <a:pt x="11278653" y="744959"/>
                  <a:pt x="11275770" y="748573"/>
                </a:cubicBezTo>
                <a:lnTo>
                  <a:pt x="11275222" y="739265"/>
                </a:lnTo>
                <a:cubicBezTo>
                  <a:pt x="11275040" y="738207"/>
                  <a:pt x="11274456" y="737696"/>
                  <a:pt x="11273397" y="737696"/>
                </a:cubicBezTo>
                <a:lnTo>
                  <a:pt x="11270076" y="737696"/>
                </a:lnTo>
                <a:lnTo>
                  <a:pt x="11270076" y="800109"/>
                </a:lnTo>
                <a:lnTo>
                  <a:pt x="11276062" y="800109"/>
                </a:lnTo>
                <a:lnTo>
                  <a:pt x="11276062" y="753171"/>
                </a:lnTo>
                <a:cubicBezTo>
                  <a:pt x="11278836" y="749485"/>
                  <a:pt x="11281975" y="746638"/>
                  <a:pt x="11285515" y="744558"/>
                </a:cubicBezTo>
                <a:cubicBezTo>
                  <a:pt x="11289055" y="742477"/>
                  <a:pt x="11292851" y="741455"/>
                  <a:pt x="11296902" y="741455"/>
                </a:cubicBezTo>
                <a:cubicBezTo>
                  <a:pt x="11302377" y="741455"/>
                  <a:pt x="11306465" y="743134"/>
                  <a:pt x="11309129" y="746456"/>
                </a:cubicBezTo>
                <a:cubicBezTo>
                  <a:pt x="11311794" y="749777"/>
                  <a:pt x="11313144" y="754376"/>
                  <a:pt x="11313144" y="760216"/>
                </a:cubicBezTo>
                <a:lnTo>
                  <a:pt x="11313144" y="800109"/>
                </a:lnTo>
                <a:lnTo>
                  <a:pt x="11319167" y="800109"/>
                </a:lnTo>
                <a:lnTo>
                  <a:pt x="11319167" y="760216"/>
                </a:lnTo>
                <a:cubicBezTo>
                  <a:pt x="11319167" y="756566"/>
                  <a:pt x="11318765" y="753317"/>
                  <a:pt x="11317853" y="750434"/>
                </a:cubicBezTo>
                <a:cubicBezTo>
                  <a:pt x="11316940" y="747551"/>
                  <a:pt x="11315663" y="745069"/>
                  <a:pt x="11313947" y="743025"/>
                </a:cubicBezTo>
                <a:cubicBezTo>
                  <a:pt x="11312232" y="740981"/>
                  <a:pt x="11310078" y="739411"/>
                  <a:pt x="11307451" y="738316"/>
                </a:cubicBezTo>
                <a:cubicBezTo>
                  <a:pt x="11304859" y="737221"/>
                  <a:pt x="11301830" y="736674"/>
                  <a:pt x="11298399" y="736674"/>
                </a:cubicBezTo>
                <a:close/>
                <a:moveTo>
                  <a:pt x="11498886" y="736637"/>
                </a:moveTo>
                <a:cubicBezTo>
                  <a:pt x="11496477" y="736637"/>
                  <a:pt x="11494250" y="737002"/>
                  <a:pt x="11492279" y="737732"/>
                </a:cubicBezTo>
                <a:cubicBezTo>
                  <a:pt x="11490272" y="738462"/>
                  <a:pt x="11488483" y="739520"/>
                  <a:pt x="11486877" y="740907"/>
                </a:cubicBezTo>
                <a:cubicBezTo>
                  <a:pt x="11485272" y="742258"/>
                  <a:pt x="11483848" y="743973"/>
                  <a:pt x="11482607" y="745944"/>
                </a:cubicBezTo>
                <a:cubicBezTo>
                  <a:pt x="11481366" y="747915"/>
                  <a:pt x="11480271" y="750178"/>
                  <a:pt x="11479322" y="752733"/>
                </a:cubicBezTo>
                <a:lnTo>
                  <a:pt x="11478848" y="739666"/>
                </a:lnTo>
                <a:cubicBezTo>
                  <a:pt x="11478775" y="738973"/>
                  <a:pt x="11478592" y="738462"/>
                  <a:pt x="11478300" y="738170"/>
                </a:cubicBezTo>
                <a:cubicBezTo>
                  <a:pt x="11478008" y="737878"/>
                  <a:pt x="11477497" y="737732"/>
                  <a:pt x="11476804" y="737732"/>
                </a:cubicBezTo>
                <a:lnTo>
                  <a:pt x="11473592" y="737732"/>
                </a:lnTo>
                <a:lnTo>
                  <a:pt x="11473592" y="800145"/>
                </a:lnTo>
                <a:lnTo>
                  <a:pt x="11479614" y="800145"/>
                </a:lnTo>
                <a:lnTo>
                  <a:pt x="11479614" y="759741"/>
                </a:lnTo>
                <a:cubicBezTo>
                  <a:pt x="11480527" y="756930"/>
                  <a:pt x="11481549" y="754448"/>
                  <a:pt x="11482644" y="752295"/>
                </a:cubicBezTo>
                <a:cubicBezTo>
                  <a:pt x="11483775" y="750141"/>
                  <a:pt x="11485053" y="748317"/>
                  <a:pt x="11486549" y="746857"/>
                </a:cubicBezTo>
                <a:cubicBezTo>
                  <a:pt x="11488009" y="745397"/>
                  <a:pt x="11489688" y="744302"/>
                  <a:pt x="11491549" y="743572"/>
                </a:cubicBezTo>
                <a:cubicBezTo>
                  <a:pt x="11493411" y="742842"/>
                  <a:pt x="11495564" y="742477"/>
                  <a:pt x="11497973" y="742477"/>
                </a:cubicBezTo>
                <a:cubicBezTo>
                  <a:pt x="11499652" y="742477"/>
                  <a:pt x="11501002" y="742623"/>
                  <a:pt x="11502024" y="742915"/>
                </a:cubicBezTo>
                <a:cubicBezTo>
                  <a:pt x="11503046" y="743207"/>
                  <a:pt x="11503813" y="743353"/>
                  <a:pt x="11504324" y="743353"/>
                </a:cubicBezTo>
                <a:cubicBezTo>
                  <a:pt x="11504908" y="743353"/>
                  <a:pt x="11505309" y="742988"/>
                  <a:pt x="11505528" y="742331"/>
                </a:cubicBezTo>
                <a:lnTo>
                  <a:pt x="11506039" y="738206"/>
                </a:lnTo>
                <a:cubicBezTo>
                  <a:pt x="11505090" y="737586"/>
                  <a:pt x="11503959" y="737184"/>
                  <a:pt x="11502718" y="736965"/>
                </a:cubicBezTo>
                <a:cubicBezTo>
                  <a:pt x="11501440" y="736747"/>
                  <a:pt x="11500163" y="736637"/>
                  <a:pt x="11498886" y="736637"/>
                </a:cubicBezTo>
                <a:close/>
                <a:moveTo>
                  <a:pt x="11230110" y="736601"/>
                </a:moveTo>
                <a:cubicBezTo>
                  <a:pt x="11225548" y="736601"/>
                  <a:pt x="11221496" y="737440"/>
                  <a:pt x="11217883" y="739119"/>
                </a:cubicBezTo>
                <a:cubicBezTo>
                  <a:pt x="11214270" y="740798"/>
                  <a:pt x="11210839" y="743280"/>
                  <a:pt x="11207590" y="746529"/>
                </a:cubicBezTo>
                <a:lnTo>
                  <a:pt x="11208649" y="748354"/>
                </a:lnTo>
                <a:cubicBezTo>
                  <a:pt x="11208868" y="748682"/>
                  <a:pt x="11209123" y="748937"/>
                  <a:pt x="11209415" y="749157"/>
                </a:cubicBezTo>
                <a:cubicBezTo>
                  <a:pt x="11209707" y="749375"/>
                  <a:pt x="11210072" y="749485"/>
                  <a:pt x="11210547" y="749485"/>
                </a:cubicBezTo>
                <a:cubicBezTo>
                  <a:pt x="11211204" y="749485"/>
                  <a:pt x="11211970" y="749083"/>
                  <a:pt x="11212883" y="748244"/>
                </a:cubicBezTo>
                <a:cubicBezTo>
                  <a:pt x="11213795" y="747405"/>
                  <a:pt x="11215000" y="746492"/>
                  <a:pt x="11216460" y="745470"/>
                </a:cubicBezTo>
                <a:cubicBezTo>
                  <a:pt x="11217919" y="744448"/>
                  <a:pt x="11219708" y="743536"/>
                  <a:pt x="11221825" y="742696"/>
                </a:cubicBezTo>
                <a:cubicBezTo>
                  <a:pt x="11223942" y="741857"/>
                  <a:pt x="11226533" y="741455"/>
                  <a:pt x="11229526" y="741455"/>
                </a:cubicBezTo>
                <a:cubicBezTo>
                  <a:pt x="11234417" y="741455"/>
                  <a:pt x="11238103" y="743025"/>
                  <a:pt x="11240585" y="746127"/>
                </a:cubicBezTo>
                <a:cubicBezTo>
                  <a:pt x="11243067" y="749229"/>
                  <a:pt x="11244308" y="753682"/>
                  <a:pt x="11244308" y="759449"/>
                </a:cubicBezTo>
                <a:lnTo>
                  <a:pt x="11244308" y="765982"/>
                </a:lnTo>
                <a:cubicBezTo>
                  <a:pt x="11237227" y="766128"/>
                  <a:pt x="11231168" y="766712"/>
                  <a:pt x="11226132" y="767734"/>
                </a:cubicBezTo>
                <a:cubicBezTo>
                  <a:pt x="11221095" y="768756"/>
                  <a:pt x="11216971" y="770070"/>
                  <a:pt x="11213759" y="771749"/>
                </a:cubicBezTo>
                <a:cubicBezTo>
                  <a:pt x="11210547" y="773428"/>
                  <a:pt x="11208174" y="775399"/>
                  <a:pt x="11206678" y="777662"/>
                </a:cubicBezTo>
                <a:cubicBezTo>
                  <a:pt x="11205181" y="779925"/>
                  <a:pt x="11204415" y="782370"/>
                  <a:pt x="11204415" y="784998"/>
                </a:cubicBezTo>
                <a:cubicBezTo>
                  <a:pt x="11204415" y="787845"/>
                  <a:pt x="11204889" y="790254"/>
                  <a:pt x="11205838" y="792298"/>
                </a:cubicBezTo>
                <a:cubicBezTo>
                  <a:pt x="11206787" y="794342"/>
                  <a:pt x="11208028" y="796021"/>
                  <a:pt x="11209598" y="797298"/>
                </a:cubicBezTo>
                <a:cubicBezTo>
                  <a:pt x="11211167" y="798576"/>
                  <a:pt x="11212956" y="799561"/>
                  <a:pt x="11214963" y="800181"/>
                </a:cubicBezTo>
                <a:cubicBezTo>
                  <a:pt x="11216971" y="800802"/>
                  <a:pt x="11219051" y="801130"/>
                  <a:pt x="11221168" y="801130"/>
                </a:cubicBezTo>
                <a:cubicBezTo>
                  <a:pt x="11223686" y="801130"/>
                  <a:pt x="11226059" y="800838"/>
                  <a:pt x="11228176" y="800364"/>
                </a:cubicBezTo>
                <a:cubicBezTo>
                  <a:pt x="11230292" y="799890"/>
                  <a:pt x="11232300" y="799160"/>
                  <a:pt x="11234125" y="798247"/>
                </a:cubicBezTo>
                <a:cubicBezTo>
                  <a:pt x="11235950" y="797335"/>
                  <a:pt x="11237738" y="796203"/>
                  <a:pt x="11239417" y="794853"/>
                </a:cubicBezTo>
                <a:cubicBezTo>
                  <a:pt x="11241096" y="793502"/>
                  <a:pt x="11242811" y="792006"/>
                  <a:pt x="11244527" y="790327"/>
                </a:cubicBezTo>
                <a:lnTo>
                  <a:pt x="11245403" y="798357"/>
                </a:lnTo>
                <a:cubicBezTo>
                  <a:pt x="11245695" y="799525"/>
                  <a:pt x="11246498" y="800109"/>
                  <a:pt x="11247739" y="800109"/>
                </a:cubicBezTo>
                <a:lnTo>
                  <a:pt x="11250111" y="800109"/>
                </a:lnTo>
                <a:lnTo>
                  <a:pt x="11250111" y="759449"/>
                </a:lnTo>
                <a:cubicBezTo>
                  <a:pt x="11250111" y="755982"/>
                  <a:pt x="11249710" y="752806"/>
                  <a:pt x="11248870" y="749996"/>
                </a:cubicBezTo>
                <a:cubicBezTo>
                  <a:pt x="11248031" y="747149"/>
                  <a:pt x="11246790" y="744740"/>
                  <a:pt x="11245147" y="742769"/>
                </a:cubicBezTo>
                <a:cubicBezTo>
                  <a:pt x="11243505" y="740798"/>
                  <a:pt x="11241425" y="739265"/>
                  <a:pt x="11238906" y="738207"/>
                </a:cubicBezTo>
                <a:cubicBezTo>
                  <a:pt x="11236388" y="737148"/>
                  <a:pt x="11233468" y="736601"/>
                  <a:pt x="11230110" y="736601"/>
                </a:cubicBezTo>
                <a:close/>
                <a:moveTo>
                  <a:pt x="11018017" y="736601"/>
                </a:moveTo>
                <a:cubicBezTo>
                  <a:pt x="11013455" y="736601"/>
                  <a:pt x="11009403" y="737440"/>
                  <a:pt x="11005790" y="739119"/>
                </a:cubicBezTo>
                <a:cubicBezTo>
                  <a:pt x="11002177" y="740798"/>
                  <a:pt x="10998746" y="743280"/>
                  <a:pt x="10995497" y="746529"/>
                </a:cubicBezTo>
                <a:lnTo>
                  <a:pt x="10996556" y="748354"/>
                </a:lnTo>
                <a:cubicBezTo>
                  <a:pt x="10996775" y="748682"/>
                  <a:pt x="10997030" y="748937"/>
                  <a:pt x="10997322" y="749157"/>
                </a:cubicBezTo>
                <a:cubicBezTo>
                  <a:pt x="10997614" y="749375"/>
                  <a:pt x="10997979" y="749485"/>
                  <a:pt x="10998454" y="749485"/>
                </a:cubicBezTo>
                <a:cubicBezTo>
                  <a:pt x="10999111" y="749485"/>
                  <a:pt x="10999877" y="749083"/>
                  <a:pt x="11000790" y="748244"/>
                </a:cubicBezTo>
                <a:cubicBezTo>
                  <a:pt x="11001702" y="747405"/>
                  <a:pt x="11002907" y="746492"/>
                  <a:pt x="11004367" y="745470"/>
                </a:cubicBezTo>
                <a:cubicBezTo>
                  <a:pt x="11005826" y="744448"/>
                  <a:pt x="11007615" y="743536"/>
                  <a:pt x="11009732" y="742696"/>
                </a:cubicBezTo>
                <a:cubicBezTo>
                  <a:pt x="11011849" y="741857"/>
                  <a:pt x="11014440" y="741455"/>
                  <a:pt x="11017433" y="741455"/>
                </a:cubicBezTo>
                <a:cubicBezTo>
                  <a:pt x="11022324" y="741455"/>
                  <a:pt x="11026010" y="743025"/>
                  <a:pt x="11028492" y="746127"/>
                </a:cubicBezTo>
                <a:cubicBezTo>
                  <a:pt x="11030974" y="749229"/>
                  <a:pt x="11032215" y="753682"/>
                  <a:pt x="11032215" y="759449"/>
                </a:cubicBezTo>
                <a:lnTo>
                  <a:pt x="11032215" y="765982"/>
                </a:lnTo>
                <a:cubicBezTo>
                  <a:pt x="11025134" y="766128"/>
                  <a:pt x="11019075" y="766712"/>
                  <a:pt x="11014039" y="767734"/>
                </a:cubicBezTo>
                <a:cubicBezTo>
                  <a:pt x="11009002" y="768756"/>
                  <a:pt x="11004878" y="770070"/>
                  <a:pt x="11001666" y="771749"/>
                </a:cubicBezTo>
                <a:cubicBezTo>
                  <a:pt x="10998454" y="773428"/>
                  <a:pt x="10996081" y="775399"/>
                  <a:pt x="10994585" y="777662"/>
                </a:cubicBezTo>
                <a:cubicBezTo>
                  <a:pt x="10993088" y="779925"/>
                  <a:pt x="10992322" y="782370"/>
                  <a:pt x="10992322" y="784998"/>
                </a:cubicBezTo>
                <a:cubicBezTo>
                  <a:pt x="10992322" y="787845"/>
                  <a:pt x="10992796" y="790254"/>
                  <a:pt x="10993745" y="792298"/>
                </a:cubicBezTo>
                <a:cubicBezTo>
                  <a:pt x="10994694" y="794342"/>
                  <a:pt x="10995935" y="796021"/>
                  <a:pt x="10997505" y="797298"/>
                </a:cubicBezTo>
                <a:cubicBezTo>
                  <a:pt x="10999074" y="798576"/>
                  <a:pt x="11000863" y="799561"/>
                  <a:pt x="11002870" y="800181"/>
                </a:cubicBezTo>
                <a:cubicBezTo>
                  <a:pt x="11004878" y="800802"/>
                  <a:pt x="11006958" y="801130"/>
                  <a:pt x="11009075" y="801130"/>
                </a:cubicBezTo>
                <a:cubicBezTo>
                  <a:pt x="11011593" y="801130"/>
                  <a:pt x="11013966" y="800838"/>
                  <a:pt x="11016083" y="800364"/>
                </a:cubicBezTo>
                <a:cubicBezTo>
                  <a:pt x="11018199" y="799890"/>
                  <a:pt x="11020207" y="799160"/>
                  <a:pt x="11022032" y="798247"/>
                </a:cubicBezTo>
                <a:cubicBezTo>
                  <a:pt x="11023857" y="797335"/>
                  <a:pt x="11025645" y="796203"/>
                  <a:pt x="11027324" y="794853"/>
                </a:cubicBezTo>
                <a:cubicBezTo>
                  <a:pt x="11029003" y="793502"/>
                  <a:pt x="11030718" y="792006"/>
                  <a:pt x="11032434" y="790327"/>
                </a:cubicBezTo>
                <a:lnTo>
                  <a:pt x="11033310" y="798357"/>
                </a:lnTo>
                <a:cubicBezTo>
                  <a:pt x="11033602" y="799525"/>
                  <a:pt x="11034405" y="800109"/>
                  <a:pt x="11035646" y="800109"/>
                </a:cubicBezTo>
                <a:lnTo>
                  <a:pt x="11038018" y="800109"/>
                </a:lnTo>
                <a:lnTo>
                  <a:pt x="11038018" y="759449"/>
                </a:lnTo>
                <a:cubicBezTo>
                  <a:pt x="11038018" y="755982"/>
                  <a:pt x="11037617" y="752806"/>
                  <a:pt x="11036777" y="749996"/>
                </a:cubicBezTo>
                <a:cubicBezTo>
                  <a:pt x="11035938" y="747149"/>
                  <a:pt x="11034697" y="744740"/>
                  <a:pt x="11033054" y="742769"/>
                </a:cubicBezTo>
                <a:cubicBezTo>
                  <a:pt x="11031412" y="740798"/>
                  <a:pt x="11029332" y="739265"/>
                  <a:pt x="11026813" y="738207"/>
                </a:cubicBezTo>
                <a:cubicBezTo>
                  <a:pt x="11024295" y="737148"/>
                  <a:pt x="11021375" y="736601"/>
                  <a:pt x="11018017" y="736601"/>
                </a:cubicBezTo>
                <a:close/>
                <a:moveTo>
                  <a:pt x="11832117" y="734703"/>
                </a:moveTo>
                <a:cubicBezTo>
                  <a:pt x="11830219" y="734703"/>
                  <a:pt x="11828430" y="734922"/>
                  <a:pt x="11826824" y="735360"/>
                </a:cubicBezTo>
                <a:cubicBezTo>
                  <a:pt x="11825219" y="735798"/>
                  <a:pt x="11823686" y="736382"/>
                  <a:pt x="11822299" y="737148"/>
                </a:cubicBezTo>
                <a:cubicBezTo>
                  <a:pt x="11820912" y="737915"/>
                  <a:pt x="11819598" y="738791"/>
                  <a:pt x="11818357" y="739849"/>
                </a:cubicBezTo>
                <a:cubicBezTo>
                  <a:pt x="11817116" y="740908"/>
                  <a:pt x="11815948" y="742076"/>
                  <a:pt x="11814816" y="743317"/>
                </a:cubicBezTo>
                <a:lnTo>
                  <a:pt x="11813794" y="738535"/>
                </a:lnTo>
                <a:cubicBezTo>
                  <a:pt x="11813174" y="736674"/>
                  <a:pt x="11811860" y="735725"/>
                  <a:pt x="11809853" y="735725"/>
                </a:cubicBezTo>
                <a:lnTo>
                  <a:pt x="11800363" y="735725"/>
                </a:lnTo>
                <a:lnTo>
                  <a:pt x="11800363" y="800072"/>
                </a:lnTo>
                <a:lnTo>
                  <a:pt x="11800363" y="800181"/>
                </a:lnTo>
                <a:lnTo>
                  <a:pt x="11815911" y="800181"/>
                </a:lnTo>
                <a:lnTo>
                  <a:pt x="11815911" y="753062"/>
                </a:lnTo>
                <a:cubicBezTo>
                  <a:pt x="11817590" y="751127"/>
                  <a:pt x="11819415" y="749594"/>
                  <a:pt x="11821350" y="748499"/>
                </a:cubicBezTo>
                <a:cubicBezTo>
                  <a:pt x="11823321" y="747368"/>
                  <a:pt x="11825401" y="746821"/>
                  <a:pt x="11827664" y="746821"/>
                </a:cubicBezTo>
                <a:cubicBezTo>
                  <a:pt x="11831022" y="746821"/>
                  <a:pt x="11833540" y="747806"/>
                  <a:pt x="11835292" y="749777"/>
                </a:cubicBezTo>
                <a:cubicBezTo>
                  <a:pt x="11837008" y="751748"/>
                  <a:pt x="11837884" y="754887"/>
                  <a:pt x="11837884" y="759194"/>
                </a:cubicBezTo>
                <a:lnTo>
                  <a:pt x="11837884" y="800145"/>
                </a:lnTo>
                <a:lnTo>
                  <a:pt x="11853432" y="800145"/>
                </a:lnTo>
                <a:lnTo>
                  <a:pt x="11853432" y="759194"/>
                </a:lnTo>
                <a:cubicBezTo>
                  <a:pt x="11853432" y="757186"/>
                  <a:pt x="11853724" y="755398"/>
                  <a:pt x="11854308" y="753865"/>
                </a:cubicBezTo>
                <a:cubicBezTo>
                  <a:pt x="11854892" y="752295"/>
                  <a:pt x="11855695" y="751018"/>
                  <a:pt x="11856717" y="749996"/>
                </a:cubicBezTo>
                <a:cubicBezTo>
                  <a:pt x="11857739" y="748974"/>
                  <a:pt x="11858943" y="748207"/>
                  <a:pt x="11860294" y="747660"/>
                </a:cubicBezTo>
                <a:cubicBezTo>
                  <a:pt x="11861644" y="747113"/>
                  <a:pt x="11863104" y="746857"/>
                  <a:pt x="11864710" y="746857"/>
                </a:cubicBezTo>
                <a:cubicBezTo>
                  <a:pt x="11868214" y="746857"/>
                  <a:pt x="11870842" y="747879"/>
                  <a:pt x="11872630" y="749959"/>
                </a:cubicBezTo>
                <a:cubicBezTo>
                  <a:pt x="11874419" y="752003"/>
                  <a:pt x="11875331" y="755106"/>
                  <a:pt x="11875331" y="759194"/>
                </a:cubicBezTo>
                <a:lnTo>
                  <a:pt x="11875331" y="800145"/>
                </a:lnTo>
                <a:lnTo>
                  <a:pt x="11890806" y="800145"/>
                </a:lnTo>
                <a:lnTo>
                  <a:pt x="11890806" y="759194"/>
                </a:lnTo>
                <a:cubicBezTo>
                  <a:pt x="11890806" y="755288"/>
                  <a:pt x="11890332" y="751821"/>
                  <a:pt x="11889346" y="748828"/>
                </a:cubicBezTo>
                <a:cubicBezTo>
                  <a:pt x="11888361" y="745799"/>
                  <a:pt x="11886938" y="743244"/>
                  <a:pt x="11885040" y="741163"/>
                </a:cubicBezTo>
                <a:cubicBezTo>
                  <a:pt x="11883142" y="739046"/>
                  <a:pt x="11880842" y="737477"/>
                  <a:pt x="11878068" y="736382"/>
                </a:cubicBezTo>
                <a:cubicBezTo>
                  <a:pt x="11875295" y="735287"/>
                  <a:pt x="11872119" y="734740"/>
                  <a:pt x="11868579" y="734740"/>
                </a:cubicBezTo>
                <a:cubicBezTo>
                  <a:pt x="11866498" y="734740"/>
                  <a:pt x="11864491" y="734959"/>
                  <a:pt x="11862447" y="735433"/>
                </a:cubicBezTo>
                <a:cubicBezTo>
                  <a:pt x="11860440" y="735871"/>
                  <a:pt x="11858505" y="736601"/>
                  <a:pt x="11856717" y="737550"/>
                </a:cubicBezTo>
                <a:cubicBezTo>
                  <a:pt x="11854892" y="738499"/>
                  <a:pt x="11853249" y="739740"/>
                  <a:pt x="11851753" y="741273"/>
                </a:cubicBezTo>
                <a:cubicBezTo>
                  <a:pt x="11850257" y="742769"/>
                  <a:pt x="11849016" y="744631"/>
                  <a:pt x="11847994" y="746748"/>
                </a:cubicBezTo>
                <a:cubicBezTo>
                  <a:pt x="11846680" y="743098"/>
                  <a:pt x="11844745" y="740178"/>
                  <a:pt x="11842117" y="737988"/>
                </a:cubicBezTo>
                <a:cubicBezTo>
                  <a:pt x="11839490" y="735798"/>
                  <a:pt x="11836168" y="734703"/>
                  <a:pt x="11832117" y="734703"/>
                </a:cubicBezTo>
                <a:close/>
                <a:moveTo>
                  <a:pt x="11727038" y="734703"/>
                </a:moveTo>
                <a:cubicBezTo>
                  <a:pt x="11725140" y="734703"/>
                  <a:pt x="11723351" y="734922"/>
                  <a:pt x="11721745" y="735360"/>
                </a:cubicBezTo>
                <a:cubicBezTo>
                  <a:pt x="11720140" y="735798"/>
                  <a:pt x="11718607" y="736382"/>
                  <a:pt x="11717220" y="737148"/>
                </a:cubicBezTo>
                <a:cubicBezTo>
                  <a:pt x="11715833" y="737915"/>
                  <a:pt x="11714519" y="738791"/>
                  <a:pt x="11713278" y="739849"/>
                </a:cubicBezTo>
                <a:cubicBezTo>
                  <a:pt x="11712037" y="740908"/>
                  <a:pt x="11710869" y="742076"/>
                  <a:pt x="11709737" y="743317"/>
                </a:cubicBezTo>
                <a:lnTo>
                  <a:pt x="11708715" y="738535"/>
                </a:lnTo>
                <a:cubicBezTo>
                  <a:pt x="11708095" y="736674"/>
                  <a:pt x="11706781" y="735725"/>
                  <a:pt x="11704774" y="735725"/>
                </a:cubicBezTo>
                <a:lnTo>
                  <a:pt x="11695284" y="735725"/>
                </a:lnTo>
                <a:lnTo>
                  <a:pt x="11695284" y="800072"/>
                </a:lnTo>
                <a:lnTo>
                  <a:pt x="11695284" y="800181"/>
                </a:lnTo>
                <a:lnTo>
                  <a:pt x="11710832" y="800181"/>
                </a:lnTo>
                <a:lnTo>
                  <a:pt x="11710832" y="753062"/>
                </a:lnTo>
                <a:cubicBezTo>
                  <a:pt x="11712511" y="751127"/>
                  <a:pt x="11714336" y="749594"/>
                  <a:pt x="11716271" y="748499"/>
                </a:cubicBezTo>
                <a:cubicBezTo>
                  <a:pt x="11718242" y="747368"/>
                  <a:pt x="11720322" y="746821"/>
                  <a:pt x="11722585" y="746821"/>
                </a:cubicBezTo>
                <a:cubicBezTo>
                  <a:pt x="11725943" y="746821"/>
                  <a:pt x="11728461" y="747806"/>
                  <a:pt x="11730213" y="749777"/>
                </a:cubicBezTo>
                <a:cubicBezTo>
                  <a:pt x="11731929" y="751748"/>
                  <a:pt x="11732805" y="754887"/>
                  <a:pt x="11732805" y="759194"/>
                </a:cubicBezTo>
                <a:lnTo>
                  <a:pt x="11732805" y="800145"/>
                </a:lnTo>
                <a:lnTo>
                  <a:pt x="11748353" y="800145"/>
                </a:lnTo>
                <a:lnTo>
                  <a:pt x="11748353" y="759194"/>
                </a:lnTo>
                <a:cubicBezTo>
                  <a:pt x="11748353" y="757186"/>
                  <a:pt x="11748645" y="755398"/>
                  <a:pt x="11749229" y="753865"/>
                </a:cubicBezTo>
                <a:cubicBezTo>
                  <a:pt x="11749813" y="752295"/>
                  <a:pt x="11750616" y="751018"/>
                  <a:pt x="11751638" y="749996"/>
                </a:cubicBezTo>
                <a:cubicBezTo>
                  <a:pt x="11752660" y="748974"/>
                  <a:pt x="11753864" y="748207"/>
                  <a:pt x="11755215" y="747660"/>
                </a:cubicBezTo>
                <a:cubicBezTo>
                  <a:pt x="11756565" y="747113"/>
                  <a:pt x="11758025" y="746857"/>
                  <a:pt x="11759631" y="746857"/>
                </a:cubicBezTo>
                <a:cubicBezTo>
                  <a:pt x="11763135" y="746857"/>
                  <a:pt x="11765763" y="747879"/>
                  <a:pt x="11767551" y="749959"/>
                </a:cubicBezTo>
                <a:cubicBezTo>
                  <a:pt x="11769340" y="752003"/>
                  <a:pt x="11770252" y="755106"/>
                  <a:pt x="11770252" y="759194"/>
                </a:cubicBezTo>
                <a:lnTo>
                  <a:pt x="11770252" y="800145"/>
                </a:lnTo>
                <a:lnTo>
                  <a:pt x="11785727" y="800145"/>
                </a:lnTo>
                <a:lnTo>
                  <a:pt x="11785727" y="759194"/>
                </a:lnTo>
                <a:cubicBezTo>
                  <a:pt x="11785727" y="755288"/>
                  <a:pt x="11785253" y="751821"/>
                  <a:pt x="11784267" y="748828"/>
                </a:cubicBezTo>
                <a:cubicBezTo>
                  <a:pt x="11783282" y="745799"/>
                  <a:pt x="11781859" y="743244"/>
                  <a:pt x="11779961" y="741163"/>
                </a:cubicBezTo>
                <a:cubicBezTo>
                  <a:pt x="11778063" y="739046"/>
                  <a:pt x="11775763" y="737477"/>
                  <a:pt x="11772989" y="736382"/>
                </a:cubicBezTo>
                <a:cubicBezTo>
                  <a:pt x="11770216" y="735287"/>
                  <a:pt x="11767040" y="734740"/>
                  <a:pt x="11763500" y="734740"/>
                </a:cubicBezTo>
                <a:cubicBezTo>
                  <a:pt x="11761419" y="734740"/>
                  <a:pt x="11759412" y="734959"/>
                  <a:pt x="11757368" y="735433"/>
                </a:cubicBezTo>
                <a:cubicBezTo>
                  <a:pt x="11755361" y="735871"/>
                  <a:pt x="11753426" y="736601"/>
                  <a:pt x="11751638" y="737550"/>
                </a:cubicBezTo>
                <a:cubicBezTo>
                  <a:pt x="11749813" y="738499"/>
                  <a:pt x="11748170" y="739740"/>
                  <a:pt x="11746674" y="741273"/>
                </a:cubicBezTo>
                <a:cubicBezTo>
                  <a:pt x="11745178" y="742769"/>
                  <a:pt x="11743937" y="744631"/>
                  <a:pt x="11742915" y="746748"/>
                </a:cubicBezTo>
                <a:cubicBezTo>
                  <a:pt x="11741601" y="743098"/>
                  <a:pt x="11739666" y="740178"/>
                  <a:pt x="11737038" y="737988"/>
                </a:cubicBezTo>
                <a:cubicBezTo>
                  <a:pt x="11734410" y="735798"/>
                  <a:pt x="11731089" y="734703"/>
                  <a:pt x="11727038" y="734703"/>
                </a:cubicBezTo>
                <a:close/>
                <a:moveTo>
                  <a:pt x="11656814" y="734557"/>
                </a:moveTo>
                <a:cubicBezTo>
                  <a:pt x="11646412" y="734557"/>
                  <a:pt x="11637507" y="737915"/>
                  <a:pt x="11630097" y="744704"/>
                </a:cubicBezTo>
                <a:lnTo>
                  <a:pt x="11632725" y="749740"/>
                </a:lnTo>
                <a:cubicBezTo>
                  <a:pt x="11633200" y="750470"/>
                  <a:pt x="11633784" y="751164"/>
                  <a:pt x="11634550" y="751711"/>
                </a:cubicBezTo>
                <a:cubicBezTo>
                  <a:pt x="11635317" y="752259"/>
                  <a:pt x="11636229" y="752551"/>
                  <a:pt x="11637324" y="752551"/>
                </a:cubicBezTo>
                <a:cubicBezTo>
                  <a:pt x="11638602" y="752551"/>
                  <a:pt x="11639733" y="752259"/>
                  <a:pt x="11640755" y="751675"/>
                </a:cubicBezTo>
                <a:cubicBezTo>
                  <a:pt x="11641777" y="751091"/>
                  <a:pt x="11642945" y="750434"/>
                  <a:pt x="11644186" y="749704"/>
                </a:cubicBezTo>
                <a:cubicBezTo>
                  <a:pt x="11645427" y="748974"/>
                  <a:pt x="11646887" y="748317"/>
                  <a:pt x="11648529" y="747733"/>
                </a:cubicBezTo>
                <a:cubicBezTo>
                  <a:pt x="11650172" y="747149"/>
                  <a:pt x="11652252" y="746857"/>
                  <a:pt x="11654770" y="746857"/>
                </a:cubicBezTo>
                <a:cubicBezTo>
                  <a:pt x="11658238" y="746857"/>
                  <a:pt x="11660902" y="747879"/>
                  <a:pt x="11662727" y="749959"/>
                </a:cubicBezTo>
                <a:cubicBezTo>
                  <a:pt x="11664588" y="752040"/>
                  <a:pt x="11665501" y="755215"/>
                  <a:pt x="11665501" y="759522"/>
                </a:cubicBezTo>
                <a:lnTo>
                  <a:pt x="11665501" y="763281"/>
                </a:lnTo>
                <a:cubicBezTo>
                  <a:pt x="11660610" y="763391"/>
                  <a:pt x="11656267" y="763756"/>
                  <a:pt x="11652471" y="764376"/>
                </a:cubicBezTo>
                <a:cubicBezTo>
                  <a:pt x="11648675" y="764960"/>
                  <a:pt x="11645317" y="765763"/>
                  <a:pt x="11642470" y="766712"/>
                </a:cubicBezTo>
                <a:cubicBezTo>
                  <a:pt x="11639623" y="767698"/>
                  <a:pt x="11637215" y="768829"/>
                  <a:pt x="11635244" y="770107"/>
                </a:cubicBezTo>
                <a:cubicBezTo>
                  <a:pt x="11633309" y="771384"/>
                  <a:pt x="11631703" y="772771"/>
                  <a:pt x="11630462" y="774231"/>
                </a:cubicBezTo>
                <a:cubicBezTo>
                  <a:pt x="11629221" y="775691"/>
                  <a:pt x="11628345" y="777224"/>
                  <a:pt x="11627798" y="778830"/>
                </a:cubicBezTo>
                <a:cubicBezTo>
                  <a:pt x="11627250" y="780436"/>
                  <a:pt x="11626995" y="782042"/>
                  <a:pt x="11626995" y="783684"/>
                </a:cubicBezTo>
                <a:cubicBezTo>
                  <a:pt x="11626995" y="786567"/>
                  <a:pt x="11627469" y="789086"/>
                  <a:pt x="11628382" y="791276"/>
                </a:cubicBezTo>
                <a:cubicBezTo>
                  <a:pt x="11629331" y="793466"/>
                  <a:pt x="11630608" y="795291"/>
                  <a:pt x="11632287" y="796751"/>
                </a:cubicBezTo>
                <a:cubicBezTo>
                  <a:pt x="11633966" y="798210"/>
                  <a:pt x="11635937" y="799305"/>
                  <a:pt x="11638237" y="800035"/>
                </a:cubicBezTo>
                <a:cubicBezTo>
                  <a:pt x="11640536" y="800765"/>
                  <a:pt x="11643054" y="801130"/>
                  <a:pt x="11645755" y="801130"/>
                </a:cubicBezTo>
                <a:cubicBezTo>
                  <a:pt x="11648055" y="801130"/>
                  <a:pt x="11650172" y="800948"/>
                  <a:pt x="11652070" y="800546"/>
                </a:cubicBezTo>
                <a:cubicBezTo>
                  <a:pt x="11653967" y="800145"/>
                  <a:pt x="11655756" y="799597"/>
                  <a:pt x="11657435" y="798831"/>
                </a:cubicBezTo>
                <a:cubicBezTo>
                  <a:pt x="11659077" y="798101"/>
                  <a:pt x="11660720" y="797152"/>
                  <a:pt x="11662253" y="796057"/>
                </a:cubicBezTo>
                <a:cubicBezTo>
                  <a:pt x="11663822" y="794926"/>
                  <a:pt x="11665392" y="793648"/>
                  <a:pt x="11667034" y="792188"/>
                </a:cubicBezTo>
                <a:lnTo>
                  <a:pt x="11668421" y="796824"/>
                </a:lnTo>
                <a:cubicBezTo>
                  <a:pt x="11668895" y="798174"/>
                  <a:pt x="11669516" y="799050"/>
                  <a:pt x="11670319" y="799488"/>
                </a:cubicBezTo>
                <a:cubicBezTo>
                  <a:pt x="11671122" y="799926"/>
                  <a:pt x="11672253" y="800145"/>
                  <a:pt x="11673713" y="800145"/>
                </a:cubicBezTo>
                <a:lnTo>
                  <a:pt x="11680721" y="800145"/>
                </a:lnTo>
                <a:lnTo>
                  <a:pt x="11680721" y="759485"/>
                </a:lnTo>
                <a:cubicBezTo>
                  <a:pt x="11680721" y="755836"/>
                  <a:pt x="11680173" y="752514"/>
                  <a:pt x="11679115" y="749448"/>
                </a:cubicBezTo>
                <a:cubicBezTo>
                  <a:pt x="11678056" y="746383"/>
                  <a:pt x="11676487" y="743755"/>
                  <a:pt x="11674443" y="741565"/>
                </a:cubicBezTo>
                <a:cubicBezTo>
                  <a:pt x="11672399" y="739375"/>
                  <a:pt x="11669881" y="737659"/>
                  <a:pt x="11666924" y="736418"/>
                </a:cubicBezTo>
                <a:cubicBezTo>
                  <a:pt x="11663932" y="735177"/>
                  <a:pt x="11660574" y="734557"/>
                  <a:pt x="11656814" y="734557"/>
                </a:cubicBezTo>
                <a:close/>
                <a:moveTo>
                  <a:pt x="11525784" y="716089"/>
                </a:moveTo>
                <a:cubicBezTo>
                  <a:pt x="11524872" y="716089"/>
                  <a:pt x="11524105" y="716308"/>
                  <a:pt x="11523521" y="716782"/>
                </a:cubicBezTo>
                <a:cubicBezTo>
                  <a:pt x="11522937" y="717220"/>
                  <a:pt x="11522536" y="717877"/>
                  <a:pt x="11522317" y="718717"/>
                </a:cubicBezTo>
                <a:lnTo>
                  <a:pt x="11519069" y="736273"/>
                </a:lnTo>
                <a:lnTo>
                  <a:pt x="11508703" y="737952"/>
                </a:lnTo>
                <a:lnTo>
                  <a:pt x="11508703" y="744083"/>
                </a:lnTo>
                <a:cubicBezTo>
                  <a:pt x="11508703" y="745178"/>
                  <a:pt x="11508995" y="745981"/>
                  <a:pt x="11509579" y="746529"/>
                </a:cubicBezTo>
                <a:cubicBezTo>
                  <a:pt x="11510163" y="747076"/>
                  <a:pt x="11510856" y="747332"/>
                  <a:pt x="11511696" y="747332"/>
                </a:cubicBezTo>
                <a:lnTo>
                  <a:pt x="11518266" y="747332"/>
                </a:lnTo>
                <a:lnTo>
                  <a:pt x="11518266" y="783283"/>
                </a:lnTo>
                <a:cubicBezTo>
                  <a:pt x="11518266" y="788831"/>
                  <a:pt x="11519762" y="793210"/>
                  <a:pt x="11522755" y="796349"/>
                </a:cubicBezTo>
                <a:cubicBezTo>
                  <a:pt x="11525748" y="799525"/>
                  <a:pt x="11530018" y="801094"/>
                  <a:pt x="11535639" y="801094"/>
                </a:cubicBezTo>
                <a:cubicBezTo>
                  <a:pt x="11538778" y="801094"/>
                  <a:pt x="11541807" y="800620"/>
                  <a:pt x="11544764" y="799671"/>
                </a:cubicBezTo>
                <a:cubicBezTo>
                  <a:pt x="11547683" y="798722"/>
                  <a:pt x="11550275" y="797298"/>
                  <a:pt x="11552538" y="795400"/>
                </a:cubicBezTo>
                <a:lnTo>
                  <a:pt x="11547902" y="787882"/>
                </a:lnTo>
                <a:cubicBezTo>
                  <a:pt x="11547574" y="787444"/>
                  <a:pt x="11547245" y="787079"/>
                  <a:pt x="11546953" y="786860"/>
                </a:cubicBezTo>
                <a:cubicBezTo>
                  <a:pt x="11546661" y="786641"/>
                  <a:pt x="11546297" y="786531"/>
                  <a:pt x="11545822" y="786531"/>
                </a:cubicBezTo>
                <a:cubicBezTo>
                  <a:pt x="11545457" y="786531"/>
                  <a:pt x="11545056" y="786641"/>
                  <a:pt x="11544691" y="786860"/>
                </a:cubicBezTo>
                <a:cubicBezTo>
                  <a:pt x="11544326" y="787115"/>
                  <a:pt x="11543888" y="787334"/>
                  <a:pt x="11543413" y="787590"/>
                </a:cubicBezTo>
                <a:cubicBezTo>
                  <a:pt x="11542939" y="787845"/>
                  <a:pt x="11542391" y="788101"/>
                  <a:pt x="11541734" y="788320"/>
                </a:cubicBezTo>
                <a:cubicBezTo>
                  <a:pt x="11541077" y="788539"/>
                  <a:pt x="11540274" y="788648"/>
                  <a:pt x="11539325" y="788648"/>
                </a:cubicBezTo>
                <a:cubicBezTo>
                  <a:pt x="11537610" y="788648"/>
                  <a:pt x="11536259" y="788101"/>
                  <a:pt x="11535274" y="786969"/>
                </a:cubicBezTo>
                <a:cubicBezTo>
                  <a:pt x="11534288" y="785838"/>
                  <a:pt x="11533814" y="784268"/>
                  <a:pt x="11533814" y="782261"/>
                </a:cubicBezTo>
                <a:lnTo>
                  <a:pt x="11533814" y="747368"/>
                </a:lnTo>
                <a:lnTo>
                  <a:pt x="11551005" y="747368"/>
                </a:lnTo>
                <a:lnTo>
                  <a:pt x="11551005" y="736346"/>
                </a:lnTo>
                <a:lnTo>
                  <a:pt x="11533814" y="736346"/>
                </a:lnTo>
                <a:lnTo>
                  <a:pt x="11533814" y="716089"/>
                </a:lnTo>
                <a:close/>
                <a:moveTo>
                  <a:pt x="11381688" y="708826"/>
                </a:moveTo>
                <a:lnTo>
                  <a:pt x="11381688" y="745836"/>
                </a:lnTo>
                <a:cubicBezTo>
                  <a:pt x="11379389" y="742770"/>
                  <a:pt x="11376688" y="740470"/>
                  <a:pt x="11373585" y="738937"/>
                </a:cubicBezTo>
                <a:cubicBezTo>
                  <a:pt x="11370483" y="737368"/>
                  <a:pt x="11366833" y="736601"/>
                  <a:pt x="11362599" y="736601"/>
                </a:cubicBezTo>
                <a:cubicBezTo>
                  <a:pt x="11358183" y="736601"/>
                  <a:pt x="11354314" y="737441"/>
                  <a:pt x="11350956" y="739120"/>
                </a:cubicBezTo>
                <a:cubicBezTo>
                  <a:pt x="11347599" y="740799"/>
                  <a:pt x="11344752" y="743062"/>
                  <a:pt x="11342452" y="745982"/>
                </a:cubicBezTo>
                <a:cubicBezTo>
                  <a:pt x="11340116" y="748901"/>
                  <a:pt x="11338401" y="752296"/>
                  <a:pt x="11337196" y="756274"/>
                </a:cubicBezTo>
                <a:cubicBezTo>
                  <a:pt x="11335992" y="760252"/>
                  <a:pt x="11335408" y="764486"/>
                  <a:pt x="11335408" y="769049"/>
                </a:cubicBezTo>
                <a:cubicBezTo>
                  <a:pt x="11335408" y="779670"/>
                  <a:pt x="11337525" y="787663"/>
                  <a:pt x="11341795" y="792955"/>
                </a:cubicBezTo>
                <a:cubicBezTo>
                  <a:pt x="11346066" y="798247"/>
                  <a:pt x="11352051" y="800912"/>
                  <a:pt x="11359753" y="800912"/>
                </a:cubicBezTo>
                <a:cubicBezTo>
                  <a:pt x="11364351" y="800912"/>
                  <a:pt x="11368476" y="799817"/>
                  <a:pt x="11372162" y="797591"/>
                </a:cubicBezTo>
                <a:cubicBezTo>
                  <a:pt x="11375848" y="795364"/>
                  <a:pt x="11379060" y="792371"/>
                  <a:pt x="11381834" y="788612"/>
                </a:cubicBezTo>
                <a:lnTo>
                  <a:pt x="11382455" y="798466"/>
                </a:lnTo>
                <a:cubicBezTo>
                  <a:pt x="11382637" y="799561"/>
                  <a:pt x="11383258" y="800109"/>
                  <a:pt x="11384353" y="800109"/>
                </a:cubicBezTo>
                <a:lnTo>
                  <a:pt x="11387601" y="800109"/>
                </a:lnTo>
                <a:lnTo>
                  <a:pt x="11387601" y="708826"/>
                </a:lnTo>
                <a:close/>
                <a:moveTo>
                  <a:pt x="11058530" y="708826"/>
                </a:moveTo>
                <a:lnTo>
                  <a:pt x="11058530" y="800109"/>
                </a:lnTo>
                <a:lnTo>
                  <a:pt x="11064552" y="800109"/>
                </a:lnTo>
                <a:lnTo>
                  <a:pt x="11064552" y="708826"/>
                </a:lnTo>
                <a:close/>
                <a:moveTo>
                  <a:pt x="11560896" y="706855"/>
                </a:moveTo>
                <a:lnTo>
                  <a:pt x="11560896" y="800072"/>
                </a:lnTo>
                <a:lnTo>
                  <a:pt x="11576371" y="800072"/>
                </a:lnTo>
                <a:lnTo>
                  <a:pt x="11576371" y="753537"/>
                </a:lnTo>
                <a:cubicBezTo>
                  <a:pt x="11578452" y="751420"/>
                  <a:pt x="11580678" y="749777"/>
                  <a:pt x="11583014" y="748573"/>
                </a:cubicBezTo>
                <a:cubicBezTo>
                  <a:pt x="11585350" y="747368"/>
                  <a:pt x="11587868" y="746748"/>
                  <a:pt x="11590533" y="746748"/>
                </a:cubicBezTo>
                <a:cubicBezTo>
                  <a:pt x="11594219" y="746748"/>
                  <a:pt x="11596957" y="747843"/>
                  <a:pt x="11598745" y="749996"/>
                </a:cubicBezTo>
                <a:cubicBezTo>
                  <a:pt x="11600533" y="752150"/>
                  <a:pt x="11601446" y="755179"/>
                  <a:pt x="11601446" y="759121"/>
                </a:cubicBezTo>
                <a:lnTo>
                  <a:pt x="11601446" y="800072"/>
                </a:lnTo>
                <a:lnTo>
                  <a:pt x="11616921" y="800072"/>
                </a:lnTo>
                <a:lnTo>
                  <a:pt x="11616921" y="759121"/>
                </a:lnTo>
                <a:cubicBezTo>
                  <a:pt x="11616921" y="755508"/>
                  <a:pt x="11616447" y="752223"/>
                  <a:pt x="11615498" y="749230"/>
                </a:cubicBezTo>
                <a:cubicBezTo>
                  <a:pt x="11614585" y="746237"/>
                  <a:pt x="11613198" y="743682"/>
                  <a:pt x="11611373" y="741529"/>
                </a:cubicBezTo>
                <a:cubicBezTo>
                  <a:pt x="11609585" y="739375"/>
                  <a:pt x="11607286" y="737733"/>
                  <a:pt x="11604585" y="736528"/>
                </a:cubicBezTo>
                <a:cubicBezTo>
                  <a:pt x="11601884" y="735324"/>
                  <a:pt x="11598745" y="734740"/>
                  <a:pt x="11595241" y="734740"/>
                </a:cubicBezTo>
                <a:cubicBezTo>
                  <a:pt x="11591190" y="734740"/>
                  <a:pt x="11587649" y="735470"/>
                  <a:pt x="11584657" y="736930"/>
                </a:cubicBezTo>
                <a:cubicBezTo>
                  <a:pt x="11581627" y="738390"/>
                  <a:pt x="11578890" y="740288"/>
                  <a:pt x="11576371" y="742624"/>
                </a:cubicBezTo>
                <a:lnTo>
                  <a:pt x="11576371" y="706855"/>
                </a:lnTo>
                <a:close/>
                <a:moveTo>
                  <a:pt x="11321539" y="434247"/>
                </a:moveTo>
                <a:lnTo>
                  <a:pt x="11348438" y="434247"/>
                </a:lnTo>
                <a:lnTo>
                  <a:pt x="11348438" y="438846"/>
                </a:lnTo>
                <a:cubicBezTo>
                  <a:pt x="11348438" y="462825"/>
                  <a:pt x="11343548" y="481513"/>
                  <a:pt x="11333730" y="494871"/>
                </a:cubicBezTo>
                <a:cubicBezTo>
                  <a:pt x="11323911" y="508230"/>
                  <a:pt x="11310115" y="514909"/>
                  <a:pt x="11292340" y="514909"/>
                </a:cubicBezTo>
                <a:cubicBezTo>
                  <a:pt x="11280515" y="514909"/>
                  <a:pt x="11271171" y="511478"/>
                  <a:pt x="11264273" y="504616"/>
                </a:cubicBezTo>
                <a:cubicBezTo>
                  <a:pt x="11257375" y="497718"/>
                  <a:pt x="11253907" y="488484"/>
                  <a:pt x="11253907" y="476877"/>
                </a:cubicBezTo>
                <a:cubicBezTo>
                  <a:pt x="11253907" y="461292"/>
                  <a:pt x="11258907" y="450306"/>
                  <a:pt x="11268872" y="443883"/>
                </a:cubicBezTo>
                <a:cubicBezTo>
                  <a:pt x="11278836" y="437459"/>
                  <a:pt x="11296391" y="434247"/>
                  <a:pt x="11321539" y="434247"/>
                </a:cubicBezTo>
                <a:close/>
                <a:moveTo>
                  <a:pt x="11301684" y="291866"/>
                </a:moveTo>
                <a:cubicBezTo>
                  <a:pt x="11284566" y="291866"/>
                  <a:pt x="11268361" y="293289"/>
                  <a:pt x="11253068" y="296209"/>
                </a:cubicBezTo>
                <a:cubicBezTo>
                  <a:pt x="11237775" y="299129"/>
                  <a:pt x="11222701" y="303619"/>
                  <a:pt x="11207882" y="309750"/>
                </a:cubicBezTo>
                <a:lnTo>
                  <a:pt x="11207882" y="367053"/>
                </a:lnTo>
                <a:cubicBezTo>
                  <a:pt x="11224270" y="358147"/>
                  <a:pt x="11239965" y="351651"/>
                  <a:pt x="11255039" y="347599"/>
                </a:cubicBezTo>
                <a:cubicBezTo>
                  <a:pt x="11270113" y="343548"/>
                  <a:pt x="11285661" y="341504"/>
                  <a:pt x="11301720" y="341504"/>
                </a:cubicBezTo>
                <a:cubicBezTo>
                  <a:pt x="11317050" y="341504"/>
                  <a:pt x="11328693" y="344314"/>
                  <a:pt x="11336576" y="349899"/>
                </a:cubicBezTo>
                <a:cubicBezTo>
                  <a:pt x="11344497" y="355483"/>
                  <a:pt x="11348438" y="363695"/>
                  <a:pt x="11348438" y="374572"/>
                </a:cubicBezTo>
                <a:lnTo>
                  <a:pt x="11348438" y="385667"/>
                </a:lnTo>
                <a:lnTo>
                  <a:pt x="11301757" y="385667"/>
                </a:lnTo>
                <a:cubicBezTo>
                  <a:pt x="11261061" y="385667"/>
                  <a:pt x="11230986" y="392785"/>
                  <a:pt x="11211532" y="407128"/>
                </a:cubicBezTo>
                <a:cubicBezTo>
                  <a:pt x="11192079" y="421472"/>
                  <a:pt x="11182370" y="443627"/>
                  <a:pt x="11182370" y="473629"/>
                </a:cubicBezTo>
                <a:cubicBezTo>
                  <a:pt x="11182370" y="501368"/>
                  <a:pt x="11190509" y="522975"/>
                  <a:pt x="11206824" y="538414"/>
                </a:cubicBezTo>
                <a:cubicBezTo>
                  <a:pt x="11223139" y="553853"/>
                  <a:pt x="11245914" y="561590"/>
                  <a:pt x="11275149" y="561590"/>
                </a:cubicBezTo>
                <a:cubicBezTo>
                  <a:pt x="11290479" y="561590"/>
                  <a:pt x="11304494" y="558525"/>
                  <a:pt x="11317196" y="552393"/>
                </a:cubicBezTo>
                <a:cubicBezTo>
                  <a:pt x="11329897" y="546261"/>
                  <a:pt x="11340336" y="537538"/>
                  <a:pt x="11348438" y="526187"/>
                </a:cubicBezTo>
                <a:lnTo>
                  <a:pt x="11348438" y="555021"/>
                </a:lnTo>
                <a:lnTo>
                  <a:pt x="11415231" y="555021"/>
                </a:lnTo>
                <a:lnTo>
                  <a:pt x="11415231" y="408223"/>
                </a:lnTo>
                <a:cubicBezTo>
                  <a:pt x="11415231" y="364571"/>
                  <a:pt x="11406763" y="334277"/>
                  <a:pt x="11389791" y="317306"/>
                </a:cubicBezTo>
                <a:cubicBezTo>
                  <a:pt x="11372856" y="300334"/>
                  <a:pt x="11343475" y="291866"/>
                  <a:pt x="11301684" y="291866"/>
                </a:cubicBezTo>
                <a:close/>
                <a:moveTo>
                  <a:pt x="11492899" y="225110"/>
                </a:moveTo>
                <a:lnTo>
                  <a:pt x="11492899" y="298107"/>
                </a:lnTo>
                <a:lnTo>
                  <a:pt x="11427202" y="298107"/>
                </a:lnTo>
                <a:lnTo>
                  <a:pt x="11427202" y="349935"/>
                </a:lnTo>
                <a:lnTo>
                  <a:pt x="11492899" y="349935"/>
                </a:lnTo>
                <a:lnTo>
                  <a:pt x="11492899" y="467971"/>
                </a:lnTo>
                <a:cubicBezTo>
                  <a:pt x="11492899" y="501368"/>
                  <a:pt x="11499688" y="524216"/>
                  <a:pt x="11513302" y="536552"/>
                </a:cubicBezTo>
                <a:cubicBezTo>
                  <a:pt x="11526916" y="548889"/>
                  <a:pt x="11552976" y="555057"/>
                  <a:pt x="11591518" y="555057"/>
                </a:cubicBezTo>
                <a:lnTo>
                  <a:pt x="11648018" y="555057"/>
                </a:lnTo>
                <a:lnTo>
                  <a:pt x="11648018" y="503229"/>
                </a:lnTo>
                <a:lnTo>
                  <a:pt x="11596336" y="503229"/>
                </a:lnTo>
                <a:cubicBezTo>
                  <a:pt x="11583306" y="503229"/>
                  <a:pt x="11573999" y="500747"/>
                  <a:pt x="11568415" y="495783"/>
                </a:cubicBezTo>
                <a:cubicBezTo>
                  <a:pt x="11562831" y="490820"/>
                  <a:pt x="11560020" y="482607"/>
                  <a:pt x="11560020" y="471183"/>
                </a:cubicBezTo>
                <a:lnTo>
                  <a:pt x="11560020" y="349935"/>
                </a:lnTo>
                <a:lnTo>
                  <a:pt x="11647982" y="349935"/>
                </a:lnTo>
                <a:lnTo>
                  <a:pt x="11647982" y="298107"/>
                </a:lnTo>
                <a:lnTo>
                  <a:pt x="11560020" y="298107"/>
                </a:lnTo>
                <a:lnTo>
                  <a:pt x="11560020" y="225110"/>
                </a:lnTo>
                <a:close/>
                <a:moveTo>
                  <a:pt x="11773427" y="198101"/>
                </a:moveTo>
                <a:lnTo>
                  <a:pt x="11773427" y="241534"/>
                </a:lnTo>
                <a:lnTo>
                  <a:pt x="11828905" y="241534"/>
                </a:lnTo>
                <a:lnTo>
                  <a:pt x="11828905" y="573671"/>
                </a:lnTo>
                <a:lnTo>
                  <a:pt x="11773427" y="573671"/>
                </a:lnTo>
                <a:lnTo>
                  <a:pt x="11773427" y="617105"/>
                </a:lnTo>
                <a:lnTo>
                  <a:pt x="11889857" y="617105"/>
                </a:lnTo>
                <a:lnTo>
                  <a:pt x="11889857" y="198101"/>
                </a:lnTo>
                <a:close/>
                <a:moveTo>
                  <a:pt x="10990132" y="197736"/>
                </a:moveTo>
                <a:lnTo>
                  <a:pt x="10990132" y="617105"/>
                </a:lnTo>
                <a:lnTo>
                  <a:pt x="11106635" y="617105"/>
                </a:lnTo>
                <a:lnTo>
                  <a:pt x="11106635" y="573671"/>
                </a:lnTo>
                <a:lnTo>
                  <a:pt x="11051085" y="573671"/>
                </a:lnTo>
                <a:lnTo>
                  <a:pt x="11051085" y="241169"/>
                </a:lnTo>
                <a:lnTo>
                  <a:pt x="11106635" y="241169"/>
                </a:lnTo>
                <a:lnTo>
                  <a:pt x="11106635" y="19773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2880000">
            <a:noAutofit/>
          </a:bodyPr>
          <a:lstStyle>
            <a:lvl1pPr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Actiontitle">
            <a:extLst>
              <a:ext uri="{FF2B5EF4-FFF2-40B4-BE49-F238E27FC236}">
                <a16:creationId xmlns:a16="http://schemas.microsoft.com/office/drawing/2014/main" id="{4B1D909E-EB51-44D0-B78E-1F879A59FD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70603" y="4669200"/>
            <a:ext cx="2221397" cy="322515"/>
          </a:xfrm>
          <a:solidFill>
            <a:schemeClr val="accent1"/>
          </a:solidFill>
        </p:spPr>
        <p:txBody>
          <a:bodyPr wrap="none" lIns="108000" tIns="36000" rIns="270000" bIns="36000" anchor="ctr">
            <a:spAutoFit/>
          </a:bodyPr>
          <a:lstStyle>
            <a:lvl1pPr algn="r"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 dirty="0"/>
              <a:t>Actiontitle </a:t>
            </a:r>
            <a:r>
              <a:rPr lang="de-DE" dirty="0" err="1"/>
              <a:t>goes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0BE372D3-E2D7-4CA3-BD28-8BE170783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2783" y="3823200"/>
            <a:ext cx="8669217" cy="737501"/>
          </a:xfrm>
        </p:spPr>
        <p:txBody>
          <a:bodyPr lIns="108000" rIns="270000"/>
          <a:lstStyle>
            <a:lvl1pPr algn="r">
              <a:defRPr sz="48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6C13FDBA-BB18-4C7B-A850-8CD1720A89E9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29.09.2022</a:t>
            </a:fld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58585662-B21C-4B5B-AE43-1848FFCC62C8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2"/>
            </p:custDataLst>
          </p:nvPr>
        </p:nvSpPr>
        <p:spPr/>
        <p:txBody>
          <a:bodyPr/>
          <a:lstStyle/>
          <a:p>
            <a:endParaRPr lang="de-DE" dirty="0">
              <a:noFill/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F3F836D3-0F4E-4BDF-9055-D936A7BA23CE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42A0C3C-A441-4C3F-B9F1-793D433CF6FE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4867980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ctiontitle">
            <a:extLst>
              <a:ext uri="{FF2B5EF4-FFF2-40B4-BE49-F238E27FC236}">
                <a16:creationId xmlns:a16="http://schemas.microsoft.com/office/drawing/2014/main" id="{4B1D909E-EB51-44D0-B78E-1F879A59FD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49302"/>
            <a:ext cx="2239572" cy="322515"/>
          </a:xfrm>
          <a:solidFill>
            <a:schemeClr val="accent1"/>
          </a:solidFill>
        </p:spPr>
        <p:txBody>
          <a:bodyPr wrap="none" lIns="270000" tIns="36000" rIns="108000" bIns="36000" anchor="ctr">
            <a:spAutoFit/>
          </a:bodyPr>
          <a:lstStyle>
            <a:lvl1pPr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 dirty="0"/>
              <a:t>Actiontitle </a:t>
            </a:r>
            <a:r>
              <a:rPr lang="de-DE" dirty="0" err="1"/>
              <a:t>goes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0BE372D3-E2D7-4CA3-BD28-8BE170783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6800"/>
            <a:ext cx="5214538" cy="460502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27CD6B3-785C-4A97-A872-B705C1A10F24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29.09.2022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6741E95-D6CA-43E1-AC58-350E218CEF4A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/>
          <a:p>
            <a:endParaRPr lang="de-DE" dirty="0">
              <a:noFill/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E937D85-CEB1-4E38-94F1-BBA06617EBE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/>
              <a:pPr/>
              <a:t>‹Nr.›</a:t>
            </a:fld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304032882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  <p15:guide id="3" orient="horz" pos="1071">
          <p15:clr>
            <a:srgbClr val="FBAE40"/>
          </p15:clr>
        </p15:guide>
        <p15:guide id="4" orient="horz" pos="397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">
            <a:extLst>
              <a:ext uri="{FF2B5EF4-FFF2-40B4-BE49-F238E27FC236}">
                <a16:creationId xmlns:a16="http://schemas.microsoft.com/office/drawing/2014/main" id="{400F6426-82D2-4016-9F0A-BEB75B7E04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Actiontitle">
            <a:extLst>
              <a:ext uri="{FF2B5EF4-FFF2-40B4-BE49-F238E27FC236}">
                <a16:creationId xmlns:a16="http://schemas.microsoft.com/office/drawing/2014/main" id="{F83A1AE1-33B3-4213-9566-A0A233D89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49302"/>
            <a:ext cx="2239572" cy="322515"/>
          </a:xfrm>
          <a:solidFill>
            <a:schemeClr val="accent1"/>
          </a:solidFill>
        </p:spPr>
        <p:txBody>
          <a:bodyPr wrap="none" lIns="270000" tIns="36000" rIns="108000" bIns="36000" anchor="ctr">
            <a:spAutoFit/>
          </a:bodyPr>
          <a:lstStyle>
            <a:lvl1pPr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 dirty="0"/>
              <a:t>Actiontitle </a:t>
            </a:r>
            <a:r>
              <a:rPr lang="de-DE" dirty="0" err="1"/>
              <a:t>goes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10" name="Titel">
            <a:extLst>
              <a:ext uri="{FF2B5EF4-FFF2-40B4-BE49-F238E27FC236}">
                <a16:creationId xmlns:a16="http://schemas.microsoft.com/office/drawing/2014/main" id="{7EB430FC-C02D-428A-AC50-84D2AE996F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D2FD96BB-3C2C-4CBC-A0A9-9601633176AE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29.09.2022</a:t>
            </a:fld>
            <a:endParaRPr lang="de-DE" dirty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2577F115-EFEE-4A67-B586-3447A74F6E46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/>
          <a:p>
            <a:endParaRPr lang="de-DE" dirty="0">
              <a:noFill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4CB2F50-A4B7-4505-A5C9-AE2A51EC1C9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/>
              <a:pPr/>
              <a:t>‹Nr.›</a:t>
            </a:fld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101986495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  <p15:guide id="2" orient="horz" pos="3974">
          <p15:clr>
            <a:srgbClr val="FBAE40"/>
          </p15:clr>
        </p15:guide>
        <p15:guide id="3" pos="7242">
          <p15:clr>
            <a:srgbClr val="FBAE40"/>
          </p15:clr>
        </p15:guide>
        <p15:guide id="4" pos="43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rechts">
            <a:extLst>
              <a:ext uri="{FF2B5EF4-FFF2-40B4-BE49-F238E27FC236}">
                <a16:creationId xmlns:a16="http://schemas.microsoft.com/office/drawing/2014/main" id="{4B3455CC-9729-43F2-B7A9-58983CAD1F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27799" y="1699200"/>
            <a:ext cx="4968875" cy="4608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Inhaltsplatzhalter links">
            <a:extLst>
              <a:ext uri="{FF2B5EF4-FFF2-40B4-BE49-F238E27FC236}">
                <a16:creationId xmlns:a16="http://schemas.microsoft.com/office/drawing/2014/main" id="{54AE7FEE-F4AD-4F7D-A4E8-CB8FBC12A1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94800" y="1699200"/>
            <a:ext cx="4968000" cy="4608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Actiontitle">
            <a:extLst>
              <a:ext uri="{FF2B5EF4-FFF2-40B4-BE49-F238E27FC236}">
                <a16:creationId xmlns:a16="http://schemas.microsoft.com/office/drawing/2014/main" id="{4ACF9611-25B7-4924-B15F-5C4541413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49302"/>
            <a:ext cx="2239572" cy="322515"/>
          </a:xfrm>
          <a:solidFill>
            <a:schemeClr val="accent1"/>
          </a:solidFill>
        </p:spPr>
        <p:txBody>
          <a:bodyPr wrap="none" lIns="270000" tIns="36000" rIns="108000" bIns="36000" anchor="ctr">
            <a:spAutoFit/>
          </a:bodyPr>
          <a:lstStyle>
            <a:lvl1pPr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 dirty="0"/>
              <a:t>Actiontitle </a:t>
            </a:r>
            <a:r>
              <a:rPr lang="de-DE" dirty="0" err="1"/>
              <a:t>goes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D0BC21A9-71D7-4025-9C81-B794D3BEF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6350A864-2E6F-4831-992C-AE0F86885405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29.09.2022</a:t>
            </a:fld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EE144EF6-CE06-4A55-8EE7-DD0603014E8F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/>
          <a:p>
            <a:endParaRPr lang="de-DE" dirty="0">
              <a:noFill/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B0AFDFF4-608D-495E-BFB5-0BAD1B359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/>
              <a:pPr/>
              <a:t>‹Nr.›</a:t>
            </a:fld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345856662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4112">
          <p15:clr>
            <a:srgbClr val="FBAE40"/>
          </p15:clr>
        </p15:guide>
        <p15:guide id="3" orient="horz" pos="1071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3974">
          <p15:clr>
            <a:srgbClr val="FBAE40"/>
          </p15:clr>
        </p15:guide>
        <p15:guide id="6" pos="43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">
            <a:extLst>
              <a:ext uri="{FF2B5EF4-FFF2-40B4-BE49-F238E27FC236}">
                <a16:creationId xmlns:a16="http://schemas.microsoft.com/office/drawing/2014/main" id="{4D901FD7-A05D-4ED8-8285-FAC32D1B272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308213"/>
          </a:xfrm>
          <a:solidFill>
            <a:schemeClr val="bg1">
              <a:lumMod val="95000"/>
            </a:schemeClr>
          </a:solidFill>
        </p:spPr>
        <p:txBody>
          <a:bodyPr tIns="2628000"/>
          <a:lstStyle>
            <a:lvl1pPr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Actiontitle">
            <a:extLst>
              <a:ext uri="{FF2B5EF4-FFF2-40B4-BE49-F238E27FC236}">
                <a16:creationId xmlns:a16="http://schemas.microsoft.com/office/drawing/2014/main" id="{4B1D909E-EB51-44D0-B78E-1F879A59FD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49302"/>
            <a:ext cx="2239572" cy="322515"/>
          </a:xfrm>
          <a:solidFill>
            <a:schemeClr val="accent1"/>
          </a:solidFill>
        </p:spPr>
        <p:txBody>
          <a:bodyPr wrap="none" lIns="270000" tIns="36000" rIns="108000" bIns="36000" anchor="ctr">
            <a:spAutoFit/>
          </a:bodyPr>
          <a:lstStyle>
            <a:lvl1pPr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 dirty="0"/>
              <a:t>Actiontitle </a:t>
            </a:r>
            <a:r>
              <a:rPr lang="de-DE" dirty="0" err="1"/>
              <a:t>goes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0BE372D3-E2D7-4CA3-BD28-8BE170783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6800"/>
            <a:ext cx="5214538" cy="460502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B45DA122-4D92-4B46-B889-F5534972F954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29.09.2022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4FFD85F-3124-430F-8D1B-84635A3B1C79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2"/>
            </p:custDataLst>
          </p:nvPr>
        </p:nvSpPr>
        <p:spPr/>
        <p:txBody>
          <a:bodyPr/>
          <a:lstStyle/>
          <a:p>
            <a:endParaRPr lang="de-DE" dirty="0">
              <a:noFill/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E03B11-04F6-4F95-B94E-9614D39308A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42A0C3C-A441-4C3F-B9F1-793D433CF6FE}" type="slidenum">
              <a:rPr lang="de-DE"/>
              <a:pPr/>
              <a:t>‹Nr.›</a:t>
            </a:fld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269358583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  <p15:guide id="3" orient="horz" pos="1071">
          <p15:clr>
            <a:srgbClr val="FBAE40"/>
          </p15:clr>
        </p15:guide>
        <p15:guide id="4" orient="horz" pos="39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Bild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">
            <a:extLst>
              <a:ext uri="{FF2B5EF4-FFF2-40B4-BE49-F238E27FC236}">
                <a16:creationId xmlns:a16="http://schemas.microsoft.com/office/drawing/2014/main" id="{4D901FD7-A05D-4ED8-8285-FAC32D1B272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700213"/>
            <a:ext cx="12192000" cy="4608000"/>
          </a:xfrm>
          <a:solidFill>
            <a:schemeClr val="bg1">
              <a:lumMod val="95000"/>
            </a:schemeClr>
          </a:solidFill>
        </p:spPr>
        <p:txBody>
          <a:bodyPr tIns="1800000"/>
          <a:lstStyle>
            <a:lvl1pPr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Actiontitle">
            <a:extLst>
              <a:ext uri="{FF2B5EF4-FFF2-40B4-BE49-F238E27FC236}">
                <a16:creationId xmlns:a16="http://schemas.microsoft.com/office/drawing/2014/main" id="{4B1D909E-EB51-44D0-B78E-1F879A59FD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49302"/>
            <a:ext cx="2239572" cy="322515"/>
          </a:xfrm>
          <a:solidFill>
            <a:schemeClr val="accent1"/>
          </a:solidFill>
        </p:spPr>
        <p:txBody>
          <a:bodyPr wrap="none" lIns="270000" tIns="36000" rIns="108000" bIns="36000" anchor="ctr">
            <a:spAutoFit/>
          </a:bodyPr>
          <a:lstStyle>
            <a:lvl1pPr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 dirty="0"/>
              <a:t>Actiontitle </a:t>
            </a:r>
            <a:r>
              <a:rPr lang="de-DE" dirty="0" err="1"/>
              <a:t>goes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0BE372D3-E2D7-4CA3-BD28-8BE170783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6800"/>
            <a:ext cx="5214538" cy="460502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B45DA122-4D92-4B46-B889-F5534972F954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29.09.2022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4FFD85F-3124-430F-8D1B-84635A3B1C79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2"/>
            </p:custDataLst>
          </p:nvPr>
        </p:nvSpPr>
        <p:spPr/>
        <p:txBody>
          <a:bodyPr/>
          <a:lstStyle/>
          <a:p>
            <a:endParaRPr lang="de-DE" dirty="0">
              <a:noFill/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E03B11-04F6-4F95-B94E-9614D39308A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42A0C3C-A441-4C3F-B9F1-793D433CF6FE}" type="slidenum">
              <a:rPr lang="de-DE"/>
              <a:pPr/>
              <a:t>‹Nr.›</a:t>
            </a:fld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398775394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  <p15:guide id="3" orient="horz" pos="1071">
          <p15:clr>
            <a:srgbClr val="FBAE40"/>
          </p15:clr>
        </p15:guide>
        <p15:guide id="4" orient="horz" pos="39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me">
            <a:extLst>
              <a:ext uri="{FF2B5EF4-FFF2-40B4-BE49-F238E27FC236}">
                <a16:creationId xmlns:a16="http://schemas.microsoft.com/office/drawing/2014/main" id="{AFF1DD1A-8606-43C3-8867-FADC225B6C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325" y="6092725"/>
            <a:ext cx="1944000" cy="216000"/>
          </a:xfrm>
        </p:spPr>
        <p:txBody>
          <a:bodyPr wrap="none" anchor="ctr">
            <a:noAutofit/>
          </a:bodyPr>
          <a:lstStyle>
            <a:lvl1pPr>
              <a:buNone/>
              <a:defRPr sz="1000">
                <a:solidFill>
                  <a:schemeClr val="accent3"/>
                </a:solidFill>
              </a:defRPr>
            </a:lvl1pPr>
            <a:lvl2pPr>
              <a:buNone/>
              <a:defRPr sz="1000">
                <a:solidFill>
                  <a:schemeClr val="accent3"/>
                </a:solidFill>
              </a:defRPr>
            </a:lvl2pPr>
            <a:lvl3pPr>
              <a:buNone/>
              <a:defRPr sz="1000">
                <a:solidFill>
                  <a:schemeClr val="accent3"/>
                </a:solidFill>
              </a:defRPr>
            </a:lvl3pPr>
            <a:lvl4pPr>
              <a:buNone/>
              <a:defRPr sz="1000">
                <a:solidFill>
                  <a:schemeClr val="accent3"/>
                </a:solidFill>
              </a:defRPr>
            </a:lvl4pPr>
            <a:lvl5pPr>
              <a:buNone/>
              <a:defRPr sz="10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dirty="0"/>
              <a:t>Name | Position | Company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3" name="Quote">
            <a:extLst>
              <a:ext uri="{FF2B5EF4-FFF2-40B4-BE49-F238E27FC236}">
                <a16:creationId xmlns:a16="http://schemas.microsoft.com/office/drawing/2014/main" id="{7FFE724D-2235-40A8-92ED-379CFC3511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5325" y="5408725"/>
            <a:ext cx="10801350" cy="612000"/>
          </a:xfrm>
        </p:spPr>
        <p:txBody>
          <a:bodyPr/>
          <a:lstStyle>
            <a:lvl1pPr>
              <a:buNone/>
              <a:defRPr i="1">
                <a:solidFill>
                  <a:schemeClr val="accent3"/>
                </a:solidFill>
              </a:defRPr>
            </a:lvl1pPr>
            <a:lvl2pPr>
              <a:buNone/>
              <a:defRPr i="1">
                <a:solidFill>
                  <a:schemeClr val="accent3"/>
                </a:solidFill>
              </a:defRPr>
            </a:lvl2pPr>
            <a:lvl3pPr>
              <a:buNone/>
              <a:defRPr i="1">
                <a:solidFill>
                  <a:schemeClr val="accent3"/>
                </a:solidFill>
              </a:defRPr>
            </a:lvl3pPr>
            <a:lvl4pPr>
              <a:buNone/>
              <a:defRPr i="1">
                <a:solidFill>
                  <a:schemeClr val="accent3"/>
                </a:solidFill>
              </a:defRPr>
            </a:lvl4pPr>
            <a:lvl5pPr>
              <a:buNone/>
              <a:defRPr i="1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dirty="0"/>
              <a:t>„Insert </a:t>
            </a:r>
            <a:r>
              <a:rPr lang="de-DE" dirty="0" err="1"/>
              <a:t>customer‘s</a:t>
            </a:r>
            <a:r>
              <a:rPr lang="de-DE" dirty="0"/>
              <a:t> </a:t>
            </a:r>
            <a:r>
              <a:rPr lang="de-DE" dirty="0" err="1"/>
              <a:t>quote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Alexander Thamm GmbH!“</a:t>
            </a:r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0BE372D3-E2D7-4CA3-BD28-8BE170783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221163"/>
            <a:ext cx="7285826" cy="626701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Bildplatzhalter">
            <a:extLst>
              <a:ext uri="{FF2B5EF4-FFF2-40B4-BE49-F238E27FC236}">
                <a16:creationId xmlns:a16="http://schemas.microsoft.com/office/drawing/2014/main" id="{4D901FD7-A05D-4ED8-8285-FAC32D1B272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4221163"/>
          </a:xfrm>
          <a:solidFill>
            <a:schemeClr val="bg1">
              <a:lumMod val="95000"/>
            </a:schemeClr>
          </a:solidFill>
        </p:spPr>
        <p:txBody>
          <a:bodyPr tIns="1800000"/>
          <a:lstStyle>
            <a:lvl1pPr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B45DA122-4D92-4B46-B889-F5534972F954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"/>
            </p:custDataLst>
          </p:nvPr>
        </p:nvSpPr>
        <p:spPr/>
        <p:txBody>
          <a:bodyPr/>
          <a:lstStyle/>
          <a:p>
            <a:fld id="{A47DC638-6E46-49FF-A72E-B879FC48254A}" type="datetimeFigureOut">
              <a:rPr lang="de-DE"/>
              <a:pPr/>
              <a:t>29.09.2022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4FFD85F-3124-430F-8D1B-84635A3B1C79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2"/>
            </p:custDataLst>
          </p:nvPr>
        </p:nvSpPr>
        <p:spPr/>
        <p:txBody>
          <a:bodyPr/>
          <a:lstStyle/>
          <a:p>
            <a:endParaRPr lang="de-DE" dirty="0">
              <a:noFill/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E03B11-04F6-4F95-B94E-9614D39308A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42A0C3C-A441-4C3F-B9F1-793D433CF6FE}" type="slidenum">
              <a:rPr lang="de-DE"/>
              <a:pPr/>
              <a:t>‹Nr.›</a:t>
            </a:fld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220217148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orient="horz" pos="397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3CD8C12-179C-4D52-ABCF-697260D17A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6800"/>
            <a:ext cx="5214538" cy="460502"/>
          </a:xfrm>
          <a:prstGeom prst="rect">
            <a:avLst/>
          </a:prstGeom>
          <a:solidFill>
            <a:schemeClr val="tx2"/>
          </a:solidFill>
        </p:spPr>
        <p:txBody>
          <a:bodyPr vert="horz" wrap="none" lIns="270000" tIns="36000" rIns="108000" bIns="36000" rtlCol="0" anchor="ctr">
            <a:sp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AE55903-B4A9-4D8C-B518-1702F86793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6000" y="1699200"/>
            <a:ext cx="10800000" cy="460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2F08E9-A41B-4643-B188-87EC1DEBCFA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5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">
                <a:noFill/>
              </a:defRPr>
            </a:lvl1pPr>
          </a:lstStyle>
          <a:p>
            <a:fld id="{A47DC638-6E46-49FF-A72E-B879FC48254A}" type="datetimeFigureOut">
              <a:rPr lang="de-DE"/>
              <a:pPr/>
              <a:t>29.09.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4979A8-242D-4347-AAE8-EDC4AA992BEA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6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BF7279B-D7A4-402B-AA4B-398AFF878B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999" y="6559200"/>
            <a:ext cx="360001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accent3"/>
                </a:solidFill>
              </a:defRPr>
            </a:lvl1pPr>
          </a:lstStyle>
          <a:p>
            <a:fld id="{A42A0C3C-A441-4C3F-B9F1-793D433CF6FE}" type="slidenum">
              <a:rPr lang="de-DE"/>
              <a:pPr/>
              <a:t>‹Nr.›</a:t>
            </a:fld>
            <a:endParaRPr lang="de-DE" sz="800" dirty="0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F66562D5-EB90-4464-A525-5C442734AF9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63739" y="6477563"/>
            <a:ext cx="464524" cy="288801"/>
          </a:xfrm>
          <a:prstGeom prst="rect">
            <a:avLst/>
          </a:prstGeom>
        </p:spPr>
      </p:pic>
      <p:sp>
        <p:nvSpPr>
          <p:cNvPr id="8" name="empower - DO NOT DELETE!!!" hidden="1">
            <a:extLst>
              <a:ext uri="{FF2B5EF4-FFF2-40B4-BE49-F238E27FC236}">
                <a16:creationId xmlns:a16="http://schemas.microsoft.com/office/drawing/2014/main" id="{C2B78AE8-C9D5-487D-8E2A-38D1D3E54676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 algn="ctr">
              <a:lnSpc>
                <a:spcPct val="110000"/>
              </a:lnSpc>
              <a:spcAft>
                <a:spcPts val="2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888864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61" r:id="rId3"/>
    <p:sldLayoutId id="2147483654" r:id="rId4"/>
    <p:sldLayoutId id="2147483650" r:id="rId5"/>
    <p:sldLayoutId id="2147483652" r:id="rId6"/>
    <p:sldLayoutId id="2147483668" r:id="rId7"/>
    <p:sldLayoutId id="2147483662" r:id="rId8"/>
    <p:sldLayoutId id="2147483665" r:id="rId9"/>
    <p:sldLayoutId id="2147483664" r:id="rId10"/>
    <p:sldLayoutId id="2147483666" r:id="rId11"/>
    <p:sldLayoutId id="2147483667" r:id="rId12"/>
    <p:sldLayoutId id="2147483655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200"/>
        </a:spcAft>
        <a:buClr>
          <a:schemeClr val="accent6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200"/>
        </a:spcAft>
        <a:buClr>
          <a:schemeClr val="accent6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200"/>
        </a:spcAft>
        <a:buClr>
          <a:schemeClr val="accent6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80975" indent="-180975" algn="l" defTabSz="914400" rtl="0" eaLnBrk="1" latinLnBrk="0" hangingPunct="1">
        <a:lnSpc>
          <a:spcPct val="110000"/>
        </a:lnSpc>
        <a:spcBef>
          <a:spcPts val="0"/>
        </a:spcBef>
        <a:spcAft>
          <a:spcPts val="200"/>
        </a:spcAft>
        <a:buClr>
          <a:schemeClr val="accent6"/>
        </a:buClr>
        <a:buFont typeface="Arial" panose="020B0604020202020204" pitchFamily="34" charset="0"/>
        <a:buChar char="+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0975" indent="-180975" algn="l" defTabSz="914400" rtl="0" eaLnBrk="1" latinLnBrk="0" hangingPunct="1">
        <a:lnSpc>
          <a:spcPct val="110000"/>
        </a:lnSpc>
        <a:spcBef>
          <a:spcPts val="0"/>
        </a:spcBef>
        <a:spcAft>
          <a:spcPts val="200"/>
        </a:spcAft>
        <a:buClr>
          <a:schemeClr val="accent6"/>
        </a:buClr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296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200"/>
        </a:spcAft>
        <a:buClr>
          <a:schemeClr val="accent6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512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200"/>
        </a:spcAft>
        <a:buClr>
          <a:schemeClr val="accent6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728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200"/>
        </a:spcAft>
        <a:buClr>
          <a:schemeClr val="accent6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944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200"/>
        </a:spcAft>
        <a:buClr>
          <a:schemeClr val="accent6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C96C025B-86D6-4551-AB8E-6D153FD3B5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6715" y="392301"/>
            <a:ext cx="3446120" cy="460502"/>
          </a:xfrm>
        </p:spPr>
        <p:txBody>
          <a:bodyPr/>
          <a:lstStyle/>
          <a:p>
            <a:r>
              <a:rPr lang="de-DE" dirty="0"/>
              <a:t>MDM Architectur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B9D9A71-B755-46C4-BE25-BB5848F5DB4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2A0C3C-A441-4C3F-B9F1-793D433CF6FE}" type="slidenum">
              <a:rPr lang="de-DE"/>
              <a:pPr/>
              <a:t>1</a:t>
            </a:fld>
            <a:endParaRPr lang="de-DE" sz="800" dirty="0"/>
          </a:p>
        </p:txBody>
      </p:sp>
      <p:sp>
        <p:nvSpPr>
          <p:cNvPr id="5" name="Zylinder 4">
            <a:extLst>
              <a:ext uri="{FF2B5EF4-FFF2-40B4-BE49-F238E27FC236}">
                <a16:creationId xmlns:a16="http://schemas.microsoft.com/office/drawing/2014/main" id="{4548D4FC-95FF-FA7A-16DC-00C53351D6BB}"/>
              </a:ext>
            </a:extLst>
          </p:cNvPr>
          <p:cNvSpPr/>
          <p:nvPr/>
        </p:nvSpPr>
        <p:spPr>
          <a:xfrm>
            <a:off x="1459684" y="1775714"/>
            <a:ext cx="1199625" cy="682260"/>
          </a:xfrm>
          <a:prstGeom prst="ca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110000"/>
              </a:lnSpc>
              <a:spcAft>
                <a:spcPts val="200"/>
              </a:spcAft>
            </a:pPr>
            <a:r>
              <a:rPr lang="de-DE" sz="1400" dirty="0">
                <a:solidFill>
                  <a:schemeClr val="tx1"/>
                </a:solidFill>
              </a:rPr>
              <a:t>Customers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15BE040-4E31-454E-C288-C850607A09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7061" y="1864982"/>
            <a:ext cx="5048250" cy="3314700"/>
          </a:xfrm>
          <a:prstGeom prst="rect">
            <a:avLst/>
          </a:prstGeom>
        </p:spPr>
      </p:pic>
      <p:sp>
        <p:nvSpPr>
          <p:cNvPr id="12" name="Zylinder 11">
            <a:extLst>
              <a:ext uri="{FF2B5EF4-FFF2-40B4-BE49-F238E27FC236}">
                <a16:creationId xmlns:a16="http://schemas.microsoft.com/office/drawing/2014/main" id="{E7EF53F2-0A95-A452-EF12-369E23B2F113}"/>
              </a:ext>
            </a:extLst>
          </p:cNvPr>
          <p:cNvSpPr/>
          <p:nvPr/>
        </p:nvSpPr>
        <p:spPr>
          <a:xfrm>
            <a:off x="1459681" y="2936878"/>
            <a:ext cx="1199625" cy="682260"/>
          </a:xfrm>
          <a:prstGeom prst="ca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110000"/>
              </a:lnSpc>
              <a:spcAft>
                <a:spcPts val="200"/>
              </a:spcAft>
            </a:pPr>
            <a:r>
              <a:rPr lang="de-DE" sz="1400" dirty="0" err="1">
                <a:solidFill>
                  <a:schemeClr val="tx1"/>
                </a:solidFill>
              </a:rPr>
              <a:t>Inventory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3" name="Zylinder 12">
            <a:extLst>
              <a:ext uri="{FF2B5EF4-FFF2-40B4-BE49-F238E27FC236}">
                <a16:creationId xmlns:a16="http://schemas.microsoft.com/office/drawing/2014/main" id="{BC4355D2-9658-896F-F3A1-1B88BDB5535D}"/>
              </a:ext>
            </a:extLst>
          </p:cNvPr>
          <p:cNvSpPr/>
          <p:nvPr/>
        </p:nvSpPr>
        <p:spPr>
          <a:xfrm>
            <a:off x="1459681" y="4098042"/>
            <a:ext cx="1199625" cy="682260"/>
          </a:xfrm>
          <a:prstGeom prst="can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110000"/>
              </a:lnSpc>
              <a:spcAft>
                <a:spcPts val="200"/>
              </a:spcAft>
            </a:pPr>
            <a:r>
              <a:rPr lang="de-DE" sz="1400" dirty="0">
                <a:solidFill>
                  <a:schemeClr val="tx1"/>
                </a:solidFill>
              </a:rPr>
              <a:t>Listings</a:t>
            </a:r>
          </a:p>
        </p:txBody>
      </p:sp>
      <p:sp>
        <p:nvSpPr>
          <p:cNvPr id="14" name="Zylinder 13">
            <a:extLst>
              <a:ext uri="{FF2B5EF4-FFF2-40B4-BE49-F238E27FC236}">
                <a16:creationId xmlns:a16="http://schemas.microsoft.com/office/drawing/2014/main" id="{CFBFC218-0524-BC7B-8CAF-3B56033A26F2}"/>
              </a:ext>
            </a:extLst>
          </p:cNvPr>
          <p:cNvSpPr/>
          <p:nvPr/>
        </p:nvSpPr>
        <p:spPr>
          <a:xfrm>
            <a:off x="1459681" y="5259206"/>
            <a:ext cx="1199625" cy="682260"/>
          </a:xfrm>
          <a:prstGeom prst="ca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110000"/>
              </a:lnSpc>
              <a:spcAft>
                <a:spcPts val="200"/>
              </a:spcAft>
            </a:pPr>
            <a:r>
              <a:rPr lang="de-DE" sz="1400" dirty="0">
                <a:solidFill>
                  <a:schemeClr val="tx1"/>
                </a:solidFill>
              </a:rPr>
              <a:t>Orders</a:t>
            </a: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D3CAA356-BBBD-5C9D-1BAE-E7A7BF57E036}"/>
              </a:ext>
            </a:extLst>
          </p:cNvPr>
          <p:cNvCxnSpPr>
            <a:cxnSpLocks/>
            <a:stCxn id="5" idx="4"/>
            <a:endCxn id="11" idx="1"/>
          </p:cNvCxnSpPr>
          <p:nvPr/>
        </p:nvCxnSpPr>
        <p:spPr>
          <a:xfrm>
            <a:off x="2659309" y="2116844"/>
            <a:ext cx="2217752" cy="1405488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AD80629E-BA86-93F1-5E5D-91643E4A7746}"/>
              </a:ext>
            </a:extLst>
          </p:cNvPr>
          <p:cNvCxnSpPr>
            <a:stCxn id="12" idx="4"/>
          </p:cNvCxnSpPr>
          <p:nvPr/>
        </p:nvCxnSpPr>
        <p:spPr>
          <a:xfrm>
            <a:off x="2659306" y="3278008"/>
            <a:ext cx="2217755" cy="488649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C391DBBD-DF67-105D-4D99-3D4AC0F4E668}"/>
              </a:ext>
            </a:extLst>
          </p:cNvPr>
          <p:cNvCxnSpPr>
            <a:stCxn id="13" idx="4"/>
          </p:cNvCxnSpPr>
          <p:nvPr/>
        </p:nvCxnSpPr>
        <p:spPr>
          <a:xfrm flipV="1">
            <a:off x="2659306" y="3920628"/>
            <a:ext cx="2217755" cy="51854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F638EC7D-CAF2-6660-5FCF-4C71EFCB0F47}"/>
              </a:ext>
            </a:extLst>
          </p:cNvPr>
          <p:cNvCxnSpPr>
            <a:stCxn id="14" idx="4"/>
          </p:cNvCxnSpPr>
          <p:nvPr/>
        </p:nvCxnSpPr>
        <p:spPr>
          <a:xfrm flipV="1">
            <a:off x="2659306" y="4177717"/>
            <a:ext cx="2217755" cy="1422619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4B30594F-F5B7-25E0-09E4-B311C870268F}"/>
              </a:ext>
            </a:extLst>
          </p:cNvPr>
          <p:cNvSpPr txBox="1"/>
          <p:nvPr/>
        </p:nvSpPr>
        <p:spPr>
          <a:xfrm>
            <a:off x="7870008" y="4825922"/>
            <a:ext cx="2055303" cy="24981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  <a:spcAft>
                <a:spcPts val="200"/>
              </a:spcAft>
            </a:pPr>
            <a:r>
              <a:rPr lang="de-DE" sz="1600" dirty="0"/>
              <a:t>Data Warehouse</a:t>
            </a:r>
          </a:p>
        </p:txBody>
      </p:sp>
    </p:spTree>
    <p:extLst>
      <p:ext uri="{BB962C8B-B14F-4D97-AF65-F5344CB8AC3E}">
        <p14:creationId xmlns:p14="http://schemas.microsoft.com/office/powerpoint/2010/main" val="17260059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gBAQEBAQEBAQEBAQEBAQIAAAAAAAAAAwAAAAMAAAAA/////wQAPwwAAAAAAAAAAAAAIAD///////////////8AAAD///////////////8DAAAAAw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yV4/uRNvVRPtKOzwAFNGnEFAAAAAAADAAAAAwADAAAAAQADAAAAAAD///////8DAAEA////////BAAAAAMAEAALgBL94TPYYEawmRTTQ9U1dQ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ALAAAAAAAAAAAAACAB////////////////AAAA////////////////BAAAAAMA////////BAAAAAMA////////BAAAAAM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CAEDAAAAAgD///////8aAAZMaW5rZWRTaGFwZXNEYXRhUHJvcGVydHlfMAUAAAAAAAQAAAADAAQAAAABAAQAAAADAP///////wQAAAADAP///////wQAAAAAAP///////wQAAAAAAP///////wQAAAAAAP///////wQAAAAAAP///////wQAAAAAAP///////wMAAwEDAAAAAwD///////8lAAZMaW5rZWRTaGFwZVByZXNlbnRhdGlvblNldHRpbmdzRGF0YV8wBQAAAAE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CV4/uRNvVRPtKOzwAFNGnEDRGF0YQAbAAAABExpbmtlZFNoYXBlRGF0YQAFAAAAAAACTmFtZQAZAAAATGlua2VkU2hhcGVzRGF0YVByb3BlcnR5ABBWZXJzaW9uAAAAAAAJTGFzdFdyaXRlAKE4tc12AQAAAAEA/////50AnQAAAAVfaWQAEAAAAASAEv3hM9hgRrCZFNND1TV1A0RhdGEAKgAAAAhQcmVzZW50YXRpb25TY2FubmVkRm9yTGlua2VkU2hhcGVzAAEAAk5hbWUAJAAAAExpbmtlZFNoYXBlUHJlc2VudGF0aW9uU2V0dGluZ3NEYXRhABBWZXJzaW9uAAAAAAAJTGFzdFdyaXRlAMU4tc12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MIO_PRESENTATION_LANGUAGE" val="10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13"/>
  <p:tag name="MIO_HDS" val="True"/>
  <p:tag name="MIO_SKIPVERSION" val="01.01.0001 00:00:00"/>
  <p:tag name="MIO_EKGUID" val="03c2b9a4-b3f1-4270-a1c3-ce026163b2c0"/>
  <p:tag name="MIO_UPDATE" val="True"/>
  <p:tag name="MIO_VERSION" val="10.03.2021 16:58:39"/>
  <p:tag name="MIO_DBID" val="0F45B44C-9BC7-4D85-81C4-7155EE70A7B9"/>
  <p:tag name="MIO_LASTDOWNLOADED" val="18.08.2021 11:30:50.116"/>
  <p:tag name="MIO_OBJECTNAME" val="Alexander Thamm 16:9"/>
  <p:tag name="MIO_CDID" val="70b1a660-c825-45a0-835a-999e700cb5d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Alexander Thamm 16:9">
  <a:themeElements>
    <a:clrScheme name="AlexanderThamm">
      <a:dk1>
        <a:sysClr val="windowText" lastClr="000000"/>
      </a:dk1>
      <a:lt1>
        <a:srgbClr val="FFFFFF"/>
      </a:lt1>
      <a:dk2>
        <a:srgbClr val="3B5981"/>
      </a:dk2>
      <a:lt2>
        <a:srgbClr val="E7E7EA"/>
      </a:lt2>
      <a:accent1>
        <a:srgbClr val="8BA1BB"/>
      </a:accent1>
      <a:accent2>
        <a:srgbClr val="FF792B"/>
      </a:accent2>
      <a:accent3>
        <a:srgbClr val="8B8889"/>
      </a:accent3>
      <a:accent4>
        <a:srgbClr val="FF6611"/>
      </a:accent4>
      <a:accent5>
        <a:srgbClr val="738DAD"/>
      </a:accent5>
      <a:accent6>
        <a:srgbClr val="30496A"/>
      </a:accent6>
      <a:hlink>
        <a:srgbClr val="8BA1BB"/>
      </a:hlink>
      <a:folHlink>
        <a:srgbClr val="FF792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>
          <a:lnSpc>
            <a:spcPct val="110000"/>
          </a:lnSpc>
          <a:spcAft>
            <a:spcPts val="200"/>
          </a:spcAft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10000"/>
          </a:lnSpc>
          <a:spcAft>
            <a:spcPts val="200"/>
          </a:spcAft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" id="{9D7231C0-925B-4B15-812F-658CAA3A6F32}" vid="{00B3FEF4-DFF6-4510-A93D-8304DBAFEE6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9</Words>
  <Application>Microsoft Office PowerPoint</Application>
  <PresentationFormat>Breitbild</PresentationFormat>
  <Paragraphs>7</Paragraphs>
  <Slides>1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4" baseType="lpstr">
      <vt:lpstr>Arial</vt:lpstr>
      <vt:lpstr>Calibri</vt:lpstr>
      <vt:lpstr>Alexander Thamm 16:9</vt:lpstr>
      <vt:lpstr>MDM Architectur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DM Architecture</dc:title>
  <dc:creator>Sohaib Zafar</dc:creator>
  <cp:lastModifiedBy>Sohaib Zafar</cp:lastModifiedBy>
  <cp:revision>1</cp:revision>
  <dcterms:created xsi:type="dcterms:W3CDTF">2022-09-29T10:05:04Z</dcterms:created>
  <dcterms:modified xsi:type="dcterms:W3CDTF">2022-09-29T22:35:50Z</dcterms:modified>
</cp:coreProperties>
</file>